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heme/theme2.xml" ContentType="application/vnd.openxmlformats-officedocument.them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heme/theme3.xml" ContentType="application/vnd.openxmlformats-officedocument.them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notesSlides/notesSlide1.xml" ContentType="application/vnd.openxmlformats-officedocument.presentationml.notesSlide+xml"/>
  <Override PartName="/ppt/tags/tag231.xml" ContentType="application/vnd.openxmlformats-officedocument.presentationml.tags+xml"/>
  <Override PartName="/ppt/notesSlides/notesSlide2.xml" ContentType="application/vnd.openxmlformats-officedocument.presentationml.notesSlid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notesSlides/notesSlide3.xml" ContentType="application/vnd.openxmlformats-officedocument.presentationml.notesSlid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notesSlides/notesSlide4.xml" ContentType="application/vnd.openxmlformats-officedocument.presentationml.notesSlide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notesSlides/notesSlide5.xml" ContentType="application/vnd.openxmlformats-officedocument.presentationml.notesSlide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notesSlides/notesSlide6.xml" ContentType="application/vnd.openxmlformats-officedocument.presentationml.notesSlide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notesSlides/notesSlide7.xml" ContentType="application/vnd.openxmlformats-officedocument.presentationml.notesSlide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notesSlides/notesSlide8.xml" ContentType="application/vnd.openxmlformats-officedocument.presentationml.notesSlide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notesSlides/notesSlide9.xml" ContentType="application/vnd.openxmlformats-officedocument.presentationml.notesSlide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notesSlides/notesSlide10.xml" ContentType="application/vnd.openxmlformats-officedocument.presentationml.notesSlide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33"/>
  </p:notesMasterIdLst>
  <p:handoutMasterIdLst>
    <p:handoutMasterId r:id="rId34"/>
  </p:handoutMasterIdLst>
  <p:sldIdLst>
    <p:sldId id="267" r:id="rId6"/>
    <p:sldId id="631" r:id="rId7"/>
    <p:sldId id="268" r:id="rId8"/>
    <p:sldId id="589" r:id="rId9"/>
    <p:sldId id="632" r:id="rId10"/>
    <p:sldId id="259" r:id="rId11"/>
    <p:sldId id="615" r:id="rId12"/>
    <p:sldId id="591" r:id="rId13"/>
    <p:sldId id="593" r:id="rId14"/>
    <p:sldId id="594" r:id="rId15"/>
    <p:sldId id="595" r:id="rId16"/>
    <p:sldId id="596" r:id="rId17"/>
    <p:sldId id="622" r:id="rId18"/>
    <p:sldId id="617" r:id="rId19"/>
    <p:sldId id="599" r:id="rId20"/>
    <p:sldId id="603" r:id="rId21"/>
    <p:sldId id="620" r:id="rId22"/>
    <p:sldId id="601" r:id="rId23"/>
    <p:sldId id="602" r:id="rId24"/>
    <p:sldId id="625" r:id="rId25"/>
    <p:sldId id="605" r:id="rId26"/>
    <p:sldId id="606" r:id="rId27"/>
    <p:sldId id="626" r:id="rId28"/>
    <p:sldId id="609" r:id="rId29"/>
    <p:sldId id="610" r:id="rId30"/>
    <p:sldId id="611" r:id="rId31"/>
    <p:sldId id="257" r:id="rId32"/>
  </p:sldIdLst>
  <p:sldSz cx="12192000" cy="6858000"/>
  <p:notesSz cx="7099300" cy="10234613"/>
  <p:custDataLst>
    <p:tags r:id="rId3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E8E6E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5" autoAdjust="0"/>
    <p:restoredTop sz="95956" autoAdjust="0"/>
  </p:normalViewPr>
  <p:slideViewPr>
    <p:cSldViewPr snapToObjects="1" showGuides="1">
      <p:cViewPr varScale="1">
        <p:scale>
          <a:sx n="63" d="100"/>
          <a:sy n="63" d="100"/>
        </p:scale>
        <p:origin x="804" y="64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949683981386806"/>
          <c:y val="2.0765996382033466E-2"/>
          <c:w val="0.83861177357019467"/>
          <c:h val="0.79811376061235229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pute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12</c:f>
              <c:numCache>
                <c:formatCode>General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34.26000000000002</c:v>
                </c:pt>
                <c:pt idx="1">
                  <c:v>144.72</c:v>
                </c:pt>
                <c:pt idx="2">
                  <c:v>154.56</c:v>
                </c:pt>
                <c:pt idx="3">
                  <c:v>153.95000000000002</c:v>
                </c:pt>
                <c:pt idx="4">
                  <c:v>152.36000000000004</c:v>
                </c:pt>
                <c:pt idx="5">
                  <c:v>153.5</c:v>
                </c:pt>
                <c:pt idx="6">
                  <c:v>153.43</c:v>
                </c:pt>
                <c:pt idx="7">
                  <c:v>154.69999999999996</c:v>
                </c:pt>
                <c:pt idx="8">
                  <c:v>156.19</c:v>
                </c:pt>
                <c:pt idx="9">
                  <c:v>157.61999999999998</c:v>
                </c:pt>
                <c:pt idx="10">
                  <c:v>156.18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B1-4849-8113-8A3A89C13EB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tacenters &amp; serv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12</c:f>
              <c:numCache>
                <c:formatCode>General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18.869999999999997</c:v>
                </c:pt>
                <c:pt idx="1">
                  <c:v>20.75</c:v>
                </c:pt>
                <c:pt idx="2">
                  <c:v>22.21</c:v>
                </c:pt>
                <c:pt idx="3">
                  <c:v>23.76</c:v>
                </c:pt>
                <c:pt idx="4">
                  <c:v>24.95</c:v>
                </c:pt>
                <c:pt idx="5">
                  <c:v>26.200000000000003</c:v>
                </c:pt>
                <c:pt idx="6">
                  <c:v>26.98</c:v>
                </c:pt>
                <c:pt idx="7">
                  <c:v>27.78</c:v>
                </c:pt>
                <c:pt idx="8">
                  <c:v>28.34</c:v>
                </c:pt>
                <c:pt idx="9">
                  <c:v>28.91</c:v>
                </c:pt>
                <c:pt idx="10">
                  <c:v>29.49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B1-4849-8113-8A3A89C13EB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CT / IoT Networking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Sheet1!$A$2:$A$12</c:f>
              <c:numCache>
                <c:formatCode>General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22.72</c:v>
                </c:pt>
                <c:pt idx="1">
                  <c:v>28.189999999999998</c:v>
                </c:pt>
                <c:pt idx="2">
                  <c:v>34.229999999999997</c:v>
                </c:pt>
                <c:pt idx="3">
                  <c:v>38.79</c:v>
                </c:pt>
                <c:pt idx="4">
                  <c:v>43.35</c:v>
                </c:pt>
                <c:pt idx="5">
                  <c:v>47.11</c:v>
                </c:pt>
                <c:pt idx="6">
                  <c:v>50.87</c:v>
                </c:pt>
                <c:pt idx="7">
                  <c:v>54.17</c:v>
                </c:pt>
                <c:pt idx="8">
                  <c:v>56.51</c:v>
                </c:pt>
                <c:pt idx="9">
                  <c:v>58.040000000000006</c:v>
                </c:pt>
                <c:pt idx="10">
                  <c:v>59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B1-4849-8113-8A3A89C13EB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merging application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numRef>
              <c:f>Sheet1!$A$2:$A$12</c:f>
              <c:numCache>
                <c:formatCode>General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6.35</c:v>
                </c:pt>
                <c:pt idx="1">
                  <c:v>7.96</c:v>
                </c:pt>
                <c:pt idx="2">
                  <c:v>9.3000000000000007</c:v>
                </c:pt>
                <c:pt idx="3">
                  <c:v>10.739999999999998</c:v>
                </c:pt>
                <c:pt idx="4">
                  <c:v>11.68</c:v>
                </c:pt>
                <c:pt idx="5">
                  <c:v>12.22</c:v>
                </c:pt>
                <c:pt idx="6">
                  <c:v>12.56</c:v>
                </c:pt>
                <c:pt idx="7">
                  <c:v>12.95</c:v>
                </c:pt>
                <c:pt idx="8">
                  <c:v>13.18</c:v>
                </c:pt>
                <c:pt idx="9">
                  <c:v>13.32</c:v>
                </c:pt>
                <c:pt idx="10">
                  <c:v>1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B1-4849-8113-8A3A89C13EB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rinter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Sheet1!$A$2:$A$12</c:f>
              <c:numCache>
                <c:formatCode>General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$F$2:$F$12</c:f>
              <c:numCache>
                <c:formatCode>General</c:formatCode>
                <c:ptCount val="11"/>
                <c:pt idx="0">
                  <c:v>10.4</c:v>
                </c:pt>
                <c:pt idx="1">
                  <c:v>10.5</c:v>
                </c:pt>
                <c:pt idx="2">
                  <c:v>10.5</c:v>
                </c:pt>
                <c:pt idx="3">
                  <c:v>10.5</c:v>
                </c:pt>
                <c:pt idx="4">
                  <c:v>10.5</c:v>
                </c:pt>
                <c:pt idx="5">
                  <c:v>10.5525</c:v>
                </c:pt>
                <c:pt idx="6">
                  <c:v>10.6</c:v>
                </c:pt>
                <c:pt idx="7">
                  <c:v>10.7</c:v>
                </c:pt>
                <c:pt idx="8">
                  <c:v>10.7</c:v>
                </c:pt>
                <c:pt idx="9">
                  <c:v>10.8</c:v>
                </c:pt>
                <c:pt idx="10">
                  <c:v>1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6B1-4849-8113-8A3A89C13E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02110511"/>
        <c:axId val="2097835391"/>
      </c:areaChart>
      <c:dateAx>
        <c:axId val="210211051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097835391"/>
        <c:crosses val="autoZero"/>
        <c:auto val="0"/>
        <c:lblOffset val="100"/>
        <c:baseTimeUnit val="days"/>
      </c:dateAx>
      <c:valAx>
        <c:axId val="20978353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10211051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12" Type="http://schemas.openxmlformats.org/officeDocument/2006/relationships/image" Target="../media/image4.png"/><Relationship Id="rId2" Type="http://schemas.openxmlformats.org/officeDocument/2006/relationships/tags" Target="../tags/tag205.xml"/><Relationship Id="rId1" Type="http://schemas.openxmlformats.org/officeDocument/2006/relationships/theme" Target="../theme/theme3.xml"/><Relationship Id="rId6" Type="http://schemas.openxmlformats.org/officeDocument/2006/relationships/tags" Target="../tags/tag209.xml"/><Relationship Id="rId11" Type="http://schemas.openxmlformats.org/officeDocument/2006/relationships/tags" Target="../tags/tag214.xml"/><Relationship Id="rId5" Type="http://schemas.openxmlformats.org/officeDocument/2006/relationships/tags" Target="../tags/tag208.xml"/><Relationship Id="rId10" Type="http://schemas.openxmlformats.org/officeDocument/2006/relationships/tags" Target="../tags/tag213.xml"/><Relationship Id="rId4" Type="http://schemas.openxmlformats.org/officeDocument/2006/relationships/tags" Target="../tags/tag207.xml"/><Relationship Id="rId9" Type="http://schemas.openxmlformats.org/officeDocument/2006/relationships/tags" Target="../tags/tag2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1 Sep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4.png"/><Relationship Id="rId2" Type="http://schemas.openxmlformats.org/officeDocument/2006/relationships/tags" Target="../tags/tag195.xml"/><Relationship Id="rId1" Type="http://schemas.openxmlformats.org/officeDocument/2006/relationships/theme" Target="../theme/theme2.xml"/><Relationship Id="rId6" Type="http://schemas.openxmlformats.org/officeDocument/2006/relationships/tags" Target="../tags/tag199.xml"/><Relationship Id="rId11" Type="http://schemas.openxmlformats.org/officeDocument/2006/relationships/tags" Target="../tags/tag204.xml"/><Relationship Id="rId5" Type="http://schemas.openxmlformats.org/officeDocument/2006/relationships/tags" Target="../tags/tag198.xml"/><Relationship Id="rId10" Type="http://schemas.openxmlformats.org/officeDocument/2006/relationships/tags" Target="../tags/tag203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1 Sep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 dirty="0"/>
              <a:t>2020-09-28</a:t>
            </a:r>
          </a:p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1869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2110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 dirty="0"/>
              <a:t>2020-09-28</a:t>
            </a:r>
          </a:p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pPr/>
              <a:t>26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5790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</a:t>
            </a:r>
            <a:r>
              <a:rPr lang="en-GB" baseline="0" dirty="0"/>
              <a:t> order to protect industrial plants, it is necessary to implement security at the lowest possible level, meaning it is necessary to implement appropriate security measures starting at the component level. A component in this sense is an industrial components like a Industrial PC.</a:t>
            </a:r>
          </a:p>
          <a:p>
            <a:endParaRPr lang="en-GB" baseline="0" dirty="0"/>
          </a:p>
          <a:p>
            <a:r>
              <a:rPr lang="en-GB" baseline="0" dirty="0"/>
              <a:t>Those components are then used as basis for industrial systems, networks and eventually are comprised in those plants.</a:t>
            </a:r>
          </a:p>
          <a:p>
            <a:endParaRPr lang="en-GB" baseline="0" dirty="0"/>
          </a:p>
          <a:p>
            <a:pPr marL="171450" indent="-171450">
              <a:buFont typeface="Symbol" panose="05050102010706020507" pitchFamily="18" charset="2"/>
              <a:buChar char="Þ"/>
            </a:pPr>
            <a:r>
              <a:rPr lang="en-GB" baseline="0" dirty="0"/>
              <a:t>On the component level, it is necessary to securely store the digital identities as a basis for strong means of authentication. In addition it is of high important to implement measures for device integrity and/or for secured FW and SW Updates (here is </a:t>
            </a:r>
            <a:r>
              <a:rPr lang="en-GB" baseline="0" dirty="0" err="1"/>
              <a:t>is</a:t>
            </a:r>
            <a:r>
              <a:rPr lang="en-GB" baseline="0" dirty="0"/>
              <a:t> necessary to make sure that only valid updates from the correct source are installed)</a:t>
            </a:r>
          </a:p>
          <a:p>
            <a:pPr marL="0" indent="0">
              <a:buFont typeface="Symbol" panose="05050102010706020507" pitchFamily="18" charset="2"/>
              <a:buNone/>
            </a:pPr>
            <a:endParaRPr lang="en-GB" baseline="0" dirty="0"/>
          </a:p>
          <a:p>
            <a:pPr marL="0" indent="0">
              <a:buFont typeface="Symbol" panose="05050102010706020507" pitchFamily="18" charset="2"/>
              <a:buNone/>
            </a:pPr>
            <a:r>
              <a:rPr lang="en-GB" baseline="0" dirty="0"/>
              <a:t>Infineon OPTIGA™ products contribute as core elements to enable securing device components and as such help to secure industrial systems, networks and eventually plants</a:t>
            </a:r>
          </a:p>
          <a:p>
            <a:pPr marL="0" indent="0">
              <a:buFont typeface="Symbol" panose="05050102010706020507" pitchFamily="18" charset="2"/>
              <a:buNone/>
            </a:pPr>
            <a:endParaRPr lang="en-GB" baseline="0" dirty="0"/>
          </a:p>
          <a:p>
            <a:pPr marL="0" indent="0">
              <a:buFont typeface="Symbol" panose="05050102010706020507" pitchFamily="18" charset="2"/>
              <a:buNone/>
            </a:pPr>
            <a:r>
              <a:rPr lang="en-GB" baseline="0" dirty="0"/>
              <a:t>(Additional info: securing industrial plants consist of multiple actions. Integration secure elements as basis is only one of the multiple facets of securing industrial </a:t>
            </a:r>
            <a:r>
              <a:rPr lang="en-GB" baseline="0" dirty="0" err="1"/>
              <a:t>equipments</a:t>
            </a:r>
            <a:r>
              <a:rPr lang="en-GB" baseline="0" dirty="0"/>
              <a:t> up to plants)</a:t>
            </a:r>
            <a:endParaRPr lang="en-GB" dirty="0"/>
          </a:p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2565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 dirty="0"/>
              <a:t>2020-09-28</a:t>
            </a:r>
          </a:p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490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quantum world, PQC will essentially become what RSA and ECC are today.</a:t>
            </a:r>
          </a:p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5934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Resiliency features to avoid the impacts of a corrupted firmware</a:t>
            </a:r>
          </a:p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7556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 dirty="0"/>
              <a:t>2020-09-28</a:t>
            </a:r>
          </a:p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pPr/>
              <a:t>18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1652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ecurity </a:t>
            </a:r>
            <a:r>
              <a:rPr lang="de-DE" dirty="0" err="1"/>
              <a:t>adds</a:t>
            </a:r>
            <a:r>
              <a:rPr lang="de-DE" dirty="0"/>
              <a:t> </a:t>
            </a:r>
            <a:r>
              <a:rPr lang="de-DE" dirty="0" err="1"/>
              <a:t>valu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protecting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, </a:t>
            </a:r>
            <a:r>
              <a:rPr lang="de-DE" dirty="0" err="1"/>
              <a:t>enabling</a:t>
            </a:r>
            <a:r>
              <a:rPr lang="de-DE" dirty="0"/>
              <a:t> </a:t>
            </a:r>
            <a:r>
              <a:rPr lang="de-DE" dirty="0" err="1"/>
              <a:t>growth</a:t>
            </a:r>
            <a:r>
              <a:rPr lang="de-DE" dirty="0"/>
              <a:t> and </a:t>
            </a:r>
            <a:r>
              <a:rPr lang="de-DE" dirty="0" err="1"/>
              <a:t>saving</a:t>
            </a:r>
            <a:r>
              <a:rPr lang="de-DE" dirty="0"/>
              <a:t> </a:t>
            </a:r>
            <a:r>
              <a:rPr lang="de-DE" dirty="0" err="1"/>
              <a:t>cost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71614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 dirty="0"/>
              <a:t>2020-09-28</a:t>
            </a:r>
          </a:p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pPr/>
              <a:t>22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4012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527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2.jp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tags" Target="../tags/tag121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5" Type="http://schemas.openxmlformats.org/officeDocument/2006/relationships/tags" Target="../tags/tag113.xml"/><Relationship Id="rId10" Type="http://schemas.openxmlformats.org/officeDocument/2006/relationships/tags" Target="../tags/tag118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tags" Target="../tags/tag134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tags" Target="../tags/tag13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0" Type="http://schemas.openxmlformats.org/officeDocument/2006/relationships/tags" Target="../tags/tag131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tags" Target="../tags/tag147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5" Type="http://schemas.openxmlformats.org/officeDocument/2006/relationships/tags" Target="../tags/tag139.xml"/><Relationship Id="rId10" Type="http://schemas.openxmlformats.org/officeDocument/2006/relationships/tags" Target="../tags/tag144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tags" Target="../tags/tag160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tags" Target="../tags/tag159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13" Type="http://schemas.openxmlformats.org/officeDocument/2006/relationships/tags" Target="../tags/tag173.xml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12" Type="http://schemas.openxmlformats.org/officeDocument/2006/relationships/tags" Target="../tags/tag172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tags" Target="../tags/tag171.xml"/><Relationship Id="rId5" Type="http://schemas.openxmlformats.org/officeDocument/2006/relationships/tags" Target="../tags/tag165.xml"/><Relationship Id="rId10" Type="http://schemas.openxmlformats.org/officeDocument/2006/relationships/tags" Target="../tags/tag170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tags" Target="../tags/tag185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tags" Target="../tags/tag184.xml"/><Relationship Id="rId5" Type="http://schemas.openxmlformats.org/officeDocument/2006/relationships/tags" Target="../tags/tag178.xml"/><Relationship Id="rId10" Type="http://schemas.openxmlformats.org/officeDocument/2006/relationships/tags" Target="../tags/tag183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3.jpg"/><Relationship Id="rId5" Type="http://schemas.openxmlformats.org/officeDocument/2006/relationships/tags" Target="../tags/tag2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">
            <a:extLst>
              <a:ext uri="{FF2B5EF4-FFF2-40B4-BE49-F238E27FC236}">
                <a16:creationId xmlns:a16="http://schemas.microsoft.com/office/drawing/2014/main" id="{442953E7-0661-4596-B845-3CAECE60C379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C766C59-49C3-4476-A96B-266E072BCA70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A172B81-6FC0-4237-BB10-33D4A26CF8E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1 Sep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1 Sep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1 Sep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1 Sep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1 Sep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1 Sep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1 Sep 2023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grpSp>
        <p:nvGrpSpPr>
          <p:cNvPr id="5" name="LOGO">
            <a:extLst>
              <a:ext uri="{FF2B5EF4-FFF2-40B4-BE49-F238E27FC236}">
                <a16:creationId xmlns:a16="http://schemas.microsoft.com/office/drawing/2014/main" id="{4851AFD6-29AD-BF51-2B17-DE5EA6071D0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66448" y="2755984"/>
            <a:ext cx="3070974" cy="1346031"/>
            <a:chOff x="3859415" y="1750829"/>
            <a:chExt cx="4435730" cy="1944213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F214AAF-1E9D-4FD3-8516-DCD8CEDA1EA1}"/>
                </a:ext>
              </a:extLst>
            </p:cNvPr>
            <p:cNvSpPr/>
            <p:nvPr userDrawn="1"/>
          </p:nvSpPr>
          <p:spPr>
            <a:xfrm>
              <a:off x="4444793" y="1933900"/>
              <a:ext cx="3429317" cy="1125638"/>
            </a:xfrm>
            <a:custGeom>
              <a:avLst/>
              <a:gdLst>
                <a:gd name="connsiteX0" fmla="*/ 2720290 w 3429317"/>
                <a:gd name="connsiteY0" fmla="*/ 1125639 h 1125638"/>
                <a:gd name="connsiteX1" fmla="*/ 2937850 w 3429317"/>
                <a:gd name="connsiteY1" fmla="*/ 788574 h 1125638"/>
                <a:gd name="connsiteX2" fmla="*/ 2720290 w 3429317"/>
                <a:gd name="connsiteY2" fmla="*/ 459348 h 1125638"/>
                <a:gd name="connsiteX3" fmla="*/ 2505859 w 3429317"/>
                <a:gd name="connsiteY3" fmla="*/ 791710 h 1125638"/>
                <a:gd name="connsiteX4" fmla="*/ 2720290 w 3429317"/>
                <a:gd name="connsiteY4" fmla="*/ 1125639 h 1125638"/>
                <a:gd name="connsiteX5" fmla="*/ 2638900 w 3429317"/>
                <a:gd name="connsiteY5" fmla="*/ 787007 h 1125638"/>
                <a:gd name="connsiteX6" fmla="*/ 2720290 w 3429317"/>
                <a:gd name="connsiteY6" fmla="*/ 572226 h 1125638"/>
                <a:gd name="connsiteX7" fmla="*/ 2804810 w 3429317"/>
                <a:gd name="connsiteY7" fmla="*/ 790142 h 1125638"/>
                <a:gd name="connsiteX8" fmla="*/ 2723420 w 3429317"/>
                <a:gd name="connsiteY8" fmla="*/ 1015897 h 1125638"/>
                <a:gd name="connsiteX9" fmla="*/ 2638900 w 3429317"/>
                <a:gd name="connsiteY9" fmla="*/ 787007 h 1125638"/>
                <a:gd name="connsiteX10" fmla="*/ 2238213 w 3429317"/>
                <a:gd name="connsiteY10" fmla="*/ 1125639 h 1125638"/>
                <a:gd name="connsiteX11" fmla="*/ 2418209 w 3429317"/>
                <a:gd name="connsiteY11" fmla="*/ 1040981 h 1125638"/>
                <a:gd name="connsiteX12" fmla="*/ 2369688 w 3429317"/>
                <a:gd name="connsiteY12" fmla="*/ 950052 h 1125638"/>
                <a:gd name="connsiteX13" fmla="*/ 2249169 w 3429317"/>
                <a:gd name="connsiteY13" fmla="*/ 1012761 h 1125638"/>
                <a:gd name="connsiteX14" fmla="*/ 2161519 w 3429317"/>
                <a:gd name="connsiteY14" fmla="*/ 953187 h 1125638"/>
                <a:gd name="connsiteX15" fmla="*/ 2142737 w 3429317"/>
                <a:gd name="connsiteY15" fmla="*/ 841877 h 1125638"/>
                <a:gd name="connsiteX16" fmla="*/ 2142737 w 3429317"/>
                <a:gd name="connsiteY16" fmla="*/ 829335 h 1125638"/>
                <a:gd name="connsiteX17" fmla="*/ 2424470 w 3429317"/>
                <a:gd name="connsiteY17" fmla="*/ 829335 h 1125638"/>
                <a:gd name="connsiteX18" fmla="*/ 2424470 w 3429317"/>
                <a:gd name="connsiteY18" fmla="*/ 801116 h 1125638"/>
                <a:gd name="connsiteX19" fmla="*/ 2363428 w 3429317"/>
                <a:gd name="connsiteY19" fmla="*/ 526761 h 1125638"/>
                <a:gd name="connsiteX20" fmla="*/ 2222561 w 3429317"/>
                <a:gd name="connsiteY20" fmla="*/ 459348 h 1125638"/>
                <a:gd name="connsiteX21" fmla="*/ 2070738 w 3429317"/>
                <a:gd name="connsiteY21" fmla="*/ 542439 h 1125638"/>
                <a:gd name="connsiteX22" fmla="*/ 2012826 w 3429317"/>
                <a:gd name="connsiteY22" fmla="*/ 791710 h 1125638"/>
                <a:gd name="connsiteX23" fmla="*/ 2238213 w 3429317"/>
                <a:gd name="connsiteY23" fmla="*/ 1125639 h 1125638"/>
                <a:gd name="connsiteX24" fmla="*/ 2224126 w 3429317"/>
                <a:gd name="connsiteY24" fmla="*/ 562819 h 1125638"/>
                <a:gd name="connsiteX25" fmla="*/ 2286734 w 3429317"/>
                <a:gd name="connsiteY25" fmla="*/ 608284 h 1125638"/>
                <a:gd name="connsiteX26" fmla="*/ 2300820 w 3429317"/>
                <a:gd name="connsiteY26" fmla="*/ 725865 h 1125638"/>
                <a:gd name="connsiteX27" fmla="*/ 2142737 w 3429317"/>
                <a:gd name="connsiteY27" fmla="*/ 725865 h 1125638"/>
                <a:gd name="connsiteX28" fmla="*/ 2224126 w 3429317"/>
                <a:gd name="connsiteY28" fmla="*/ 562819 h 1125638"/>
                <a:gd name="connsiteX29" fmla="*/ 3041152 w 3429317"/>
                <a:gd name="connsiteY29" fmla="*/ 1109961 h 1125638"/>
                <a:gd name="connsiteX30" fmla="*/ 3163237 w 3429317"/>
                <a:gd name="connsiteY30" fmla="*/ 1109961 h 1125638"/>
                <a:gd name="connsiteX31" fmla="*/ 3163237 w 3429317"/>
                <a:gd name="connsiteY31" fmla="*/ 639639 h 1125638"/>
                <a:gd name="connsiteX32" fmla="*/ 3252452 w 3429317"/>
                <a:gd name="connsiteY32" fmla="*/ 583200 h 1125638"/>
                <a:gd name="connsiteX33" fmla="*/ 3293147 w 3429317"/>
                <a:gd name="connsiteY33" fmla="*/ 598877 h 1125638"/>
                <a:gd name="connsiteX34" fmla="*/ 3307233 w 3429317"/>
                <a:gd name="connsiteY34" fmla="*/ 681968 h 1125638"/>
                <a:gd name="connsiteX35" fmla="*/ 3307233 w 3429317"/>
                <a:gd name="connsiteY35" fmla="*/ 1109961 h 1125638"/>
                <a:gd name="connsiteX36" fmla="*/ 3429318 w 3429317"/>
                <a:gd name="connsiteY36" fmla="*/ 1109961 h 1125638"/>
                <a:gd name="connsiteX37" fmla="*/ 3429318 w 3429317"/>
                <a:gd name="connsiteY37" fmla="*/ 625529 h 1125638"/>
                <a:gd name="connsiteX38" fmla="*/ 3399579 w 3429317"/>
                <a:gd name="connsiteY38" fmla="*/ 509516 h 1125638"/>
                <a:gd name="connsiteX39" fmla="*/ 3299408 w 3429317"/>
                <a:gd name="connsiteY39" fmla="*/ 464052 h 1125638"/>
                <a:gd name="connsiteX40" fmla="*/ 3153845 w 3429317"/>
                <a:gd name="connsiteY40" fmla="*/ 534600 h 1125638"/>
                <a:gd name="connsiteX41" fmla="*/ 3138194 w 3429317"/>
                <a:gd name="connsiteY41" fmla="*/ 459348 h 1125638"/>
                <a:gd name="connsiteX42" fmla="*/ 3023935 w 3429317"/>
                <a:gd name="connsiteY42" fmla="*/ 489136 h 1125638"/>
                <a:gd name="connsiteX43" fmla="*/ 3039587 w 3429317"/>
                <a:gd name="connsiteY43" fmla="*/ 642774 h 1125638"/>
                <a:gd name="connsiteX44" fmla="*/ 3039587 w 3429317"/>
                <a:gd name="connsiteY44" fmla="*/ 1109961 h 1125638"/>
                <a:gd name="connsiteX45" fmla="*/ 1623096 w 3429317"/>
                <a:gd name="connsiteY45" fmla="*/ 534600 h 1125638"/>
                <a:gd name="connsiteX46" fmla="*/ 1607444 w 3429317"/>
                <a:gd name="connsiteY46" fmla="*/ 459348 h 1125638"/>
                <a:gd name="connsiteX47" fmla="*/ 1493185 w 3429317"/>
                <a:gd name="connsiteY47" fmla="*/ 489136 h 1125638"/>
                <a:gd name="connsiteX48" fmla="*/ 1508837 w 3429317"/>
                <a:gd name="connsiteY48" fmla="*/ 642774 h 1125638"/>
                <a:gd name="connsiteX49" fmla="*/ 1508837 w 3429317"/>
                <a:gd name="connsiteY49" fmla="*/ 1108394 h 1125638"/>
                <a:gd name="connsiteX50" fmla="*/ 1630922 w 3429317"/>
                <a:gd name="connsiteY50" fmla="*/ 1108394 h 1125638"/>
                <a:gd name="connsiteX51" fmla="*/ 1630922 w 3429317"/>
                <a:gd name="connsiteY51" fmla="*/ 638071 h 1125638"/>
                <a:gd name="connsiteX52" fmla="*/ 1720137 w 3429317"/>
                <a:gd name="connsiteY52" fmla="*/ 581632 h 1125638"/>
                <a:gd name="connsiteX53" fmla="*/ 1760832 w 3429317"/>
                <a:gd name="connsiteY53" fmla="*/ 597310 h 1125638"/>
                <a:gd name="connsiteX54" fmla="*/ 1774919 w 3429317"/>
                <a:gd name="connsiteY54" fmla="*/ 680400 h 1125638"/>
                <a:gd name="connsiteX55" fmla="*/ 1774919 w 3429317"/>
                <a:gd name="connsiteY55" fmla="*/ 1108394 h 1125638"/>
                <a:gd name="connsiteX56" fmla="*/ 1897003 w 3429317"/>
                <a:gd name="connsiteY56" fmla="*/ 1108394 h 1125638"/>
                <a:gd name="connsiteX57" fmla="*/ 1897003 w 3429317"/>
                <a:gd name="connsiteY57" fmla="*/ 625529 h 1125638"/>
                <a:gd name="connsiteX58" fmla="*/ 1867264 w 3429317"/>
                <a:gd name="connsiteY58" fmla="*/ 509516 h 1125638"/>
                <a:gd name="connsiteX59" fmla="*/ 1767093 w 3429317"/>
                <a:gd name="connsiteY59" fmla="*/ 464052 h 1125638"/>
                <a:gd name="connsiteX60" fmla="*/ 1623096 w 3429317"/>
                <a:gd name="connsiteY60" fmla="*/ 534600 h 1125638"/>
                <a:gd name="connsiteX61" fmla="*/ 129910 w 3429317"/>
                <a:gd name="connsiteY61" fmla="*/ 260245 h 1125638"/>
                <a:gd name="connsiteX62" fmla="*/ 259820 w 3429317"/>
                <a:gd name="connsiteY62" fmla="*/ 130123 h 1125638"/>
                <a:gd name="connsiteX63" fmla="*/ 129910 w 3429317"/>
                <a:gd name="connsiteY63" fmla="*/ 0 h 1125638"/>
                <a:gd name="connsiteX64" fmla="*/ 0 w 3429317"/>
                <a:gd name="connsiteY64" fmla="*/ 130123 h 1125638"/>
                <a:gd name="connsiteX65" fmla="*/ 129910 w 3429317"/>
                <a:gd name="connsiteY65" fmla="*/ 260245 h 1125638"/>
                <a:gd name="connsiteX66" fmla="*/ 729376 w 3429317"/>
                <a:gd name="connsiteY66" fmla="*/ 1109961 h 1125638"/>
                <a:gd name="connsiteX67" fmla="*/ 729376 w 3429317"/>
                <a:gd name="connsiteY67" fmla="*/ 625529 h 1125638"/>
                <a:gd name="connsiteX68" fmla="*/ 699637 w 3429317"/>
                <a:gd name="connsiteY68" fmla="*/ 509516 h 1125638"/>
                <a:gd name="connsiteX69" fmla="*/ 599465 w 3429317"/>
                <a:gd name="connsiteY69" fmla="*/ 464052 h 1125638"/>
                <a:gd name="connsiteX70" fmla="*/ 453903 w 3429317"/>
                <a:gd name="connsiteY70" fmla="*/ 534600 h 1125638"/>
                <a:gd name="connsiteX71" fmla="*/ 438251 w 3429317"/>
                <a:gd name="connsiteY71" fmla="*/ 459348 h 1125638"/>
                <a:gd name="connsiteX72" fmla="*/ 325558 w 3429317"/>
                <a:gd name="connsiteY72" fmla="*/ 490703 h 1125638"/>
                <a:gd name="connsiteX73" fmla="*/ 341210 w 3429317"/>
                <a:gd name="connsiteY73" fmla="*/ 644342 h 1125638"/>
                <a:gd name="connsiteX74" fmla="*/ 341210 w 3429317"/>
                <a:gd name="connsiteY74" fmla="*/ 1109961 h 1125638"/>
                <a:gd name="connsiteX75" fmla="*/ 463294 w 3429317"/>
                <a:gd name="connsiteY75" fmla="*/ 1109961 h 1125638"/>
                <a:gd name="connsiteX76" fmla="*/ 463294 w 3429317"/>
                <a:gd name="connsiteY76" fmla="*/ 639639 h 1125638"/>
                <a:gd name="connsiteX77" fmla="*/ 552510 w 3429317"/>
                <a:gd name="connsiteY77" fmla="*/ 583200 h 1125638"/>
                <a:gd name="connsiteX78" fmla="*/ 593205 w 3429317"/>
                <a:gd name="connsiteY78" fmla="*/ 598877 h 1125638"/>
                <a:gd name="connsiteX79" fmla="*/ 607291 w 3429317"/>
                <a:gd name="connsiteY79" fmla="*/ 681968 h 1125638"/>
                <a:gd name="connsiteX80" fmla="*/ 607291 w 3429317"/>
                <a:gd name="connsiteY80" fmla="*/ 1109961 h 1125638"/>
                <a:gd name="connsiteX81" fmla="*/ 729376 w 3429317"/>
                <a:gd name="connsiteY81" fmla="*/ 1109961 h 1125638"/>
                <a:gd name="connsiteX82" fmla="*/ 1291277 w 3429317"/>
                <a:gd name="connsiteY82" fmla="*/ 225755 h 1125638"/>
                <a:gd name="connsiteX83" fmla="*/ 1209887 w 3429317"/>
                <a:gd name="connsiteY83" fmla="*/ 307277 h 1125638"/>
                <a:gd name="connsiteX84" fmla="*/ 1289712 w 3429317"/>
                <a:gd name="connsiteY84" fmla="*/ 388800 h 1125638"/>
                <a:gd name="connsiteX85" fmla="*/ 1371101 w 3429317"/>
                <a:gd name="connsiteY85" fmla="*/ 307277 h 1125638"/>
                <a:gd name="connsiteX86" fmla="*/ 1291277 w 3429317"/>
                <a:gd name="connsiteY86" fmla="*/ 225755 h 1125638"/>
                <a:gd name="connsiteX87" fmla="*/ 71998 w 3429317"/>
                <a:gd name="connsiteY87" fmla="*/ 1109961 h 1125638"/>
                <a:gd name="connsiteX88" fmla="*/ 194083 w 3429317"/>
                <a:gd name="connsiteY88" fmla="*/ 1109961 h 1125638"/>
                <a:gd name="connsiteX89" fmla="*/ 194083 w 3429317"/>
                <a:gd name="connsiteY89" fmla="*/ 346471 h 1125638"/>
                <a:gd name="connsiteX90" fmla="*/ 71998 w 3429317"/>
                <a:gd name="connsiteY90" fmla="*/ 362148 h 1125638"/>
                <a:gd name="connsiteX91" fmla="*/ 71998 w 3429317"/>
                <a:gd name="connsiteY91" fmla="*/ 1109961 h 1125638"/>
                <a:gd name="connsiteX92" fmla="*/ 1069021 w 3429317"/>
                <a:gd name="connsiteY92" fmla="*/ 301006 h 1125638"/>
                <a:gd name="connsiteX93" fmla="*/ 1126932 w 3429317"/>
                <a:gd name="connsiteY93" fmla="*/ 319819 h 1125638"/>
                <a:gd name="connsiteX94" fmla="*/ 1161366 w 3429317"/>
                <a:gd name="connsiteY94" fmla="*/ 224187 h 1125638"/>
                <a:gd name="connsiteX95" fmla="*/ 1047108 w 3429317"/>
                <a:gd name="connsiteY95" fmla="*/ 189697 h 1125638"/>
                <a:gd name="connsiteX96" fmla="*/ 953197 w 3429317"/>
                <a:gd name="connsiteY96" fmla="*/ 221052 h 1125638"/>
                <a:gd name="connsiteX97" fmla="*/ 892155 w 3429317"/>
                <a:gd name="connsiteY97" fmla="*/ 390368 h 1125638"/>
                <a:gd name="connsiteX98" fmla="*/ 893720 w 3429317"/>
                <a:gd name="connsiteY98" fmla="*/ 473458 h 1125638"/>
                <a:gd name="connsiteX99" fmla="*/ 851460 w 3429317"/>
                <a:gd name="connsiteY99" fmla="*/ 473458 h 1125638"/>
                <a:gd name="connsiteX100" fmla="*/ 851460 w 3429317"/>
                <a:gd name="connsiteY100" fmla="*/ 581632 h 1125638"/>
                <a:gd name="connsiteX101" fmla="*/ 893720 w 3429317"/>
                <a:gd name="connsiteY101" fmla="*/ 581632 h 1125638"/>
                <a:gd name="connsiteX102" fmla="*/ 893720 w 3429317"/>
                <a:gd name="connsiteY102" fmla="*/ 1108394 h 1125638"/>
                <a:gd name="connsiteX103" fmla="*/ 1018935 w 3429317"/>
                <a:gd name="connsiteY103" fmla="*/ 1108394 h 1125638"/>
                <a:gd name="connsiteX104" fmla="*/ 1018935 w 3429317"/>
                <a:gd name="connsiteY104" fmla="*/ 583200 h 1125638"/>
                <a:gd name="connsiteX105" fmla="*/ 1111281 w 3429317"/>
                <a:gd name="connsiteY105" fmla="*/ 583200 h 1125638"/>
                <a:gd name="connsiteX106" fmla="*/ 1134758 w 3429317"/>
                <a:gd name="connsiteY106" fmla="*/ 475026 h 1125638"/>
                <a:gd name="connsiteX107" fmla="*/ 1020500 w 3429317"/>
                <a:gd name="connsiteY107" fmla="*/ 475026 h 1125638"/>
                <a:gd name="connsiteX108" fmla="*/ 1020500 w 3429317"/>
                <a:gd name="connsiteY108" fmla="*/ 377826 h 1125638"/>
                <a:gd name="connsiteX109" fmla="*/ 1069021 w 3429317"/>
                <a:gd name="connsiteY109" fmla="*/ 301006 h 1125638"/>
                <a:gd name="connsiteX110" fmla="*/ 1228669 w 3429317"/>
                <a:gd name="connsiteY110" fmla="*/ 1109961 h 1125638"/>
                <a:gd name="connsiteX111" fmla="*/ 1352319 w 3429317"/>
                <a:gd name="connsiteY111" fmla="*/ 1109961 h 1125638"/>
                <a:gd name="connsiteX112" fmla="*/ 1352319 w 3429317"/>
                <a:gd name="connsiteY112" fmla="*/ 464052 h 1125638"/>
                <a:gd name="connsiteX113" fmla="*/ 1228669 w 3429317"/>
                <a:gd name="connsiteY113" fmla="*/ 479729 h 1125638"/>
                <a:gd name="connsiteX114" fmla="*/ 1228669 w 3429317"/>
                <a:gd name="connsiteY114" fmla="*/ 1109961 h 112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429317" h="1125638">
                  <a:moveTo>
                    <a:pt x="2720290" y="1125639"/>
                  </a:moveTo>
                  <a:cubicBezTo>
                    <a:pt x="2886199" y="1125639"/>
                    <a:pt x="2937850" y="950052"/>
                    <a:pt x="2937850" y="788574"/>
                  </a:cubicBezTo>
                  <a:cubicBezTo>
                    <a:pt x="2937850" y="572226"/>
                    <a:pt x="2847069" y="459348"/>
                    <a:pt x="2720290" y="459348"/>
                  </a:cubicBezTo>
                  <a:cubicBezTo>
                    <a:pt x="2560641" y="459348"/>
                    <a:pt x="2504294" y="634936"/>
                    <a:pt x="2505859" y="791710"/>
                  </a:cubicBezTo>
                  <a:cubicBezTo>
                    <a:pt x="2507425" y="946916"/>
                    <a:pt x="2551250" y="1125639"/>
                    <a:pt x="2720290" y="1125639"/>
                  </a:cubicBezTo>
                  <a:close/>
                  <a:moveTo>
                    <a:pt x="2638900" y="787007"/>
                  </a:moveTo>
                  <a:cubicBezTo>
                    <a:pt x="2638900" y="722729"/>
                    <a:pt x="2638900" y="572226"/>
                    <a:pt x="2720290" y="572226"/>
                  </a:cubicBezTo>
                  <a:cubicBezTo>
                    <a:pt x="2807940" y="572226"/>
                    <a:pt x="2804810" y="721161"/>
                    <a:pt x="2804810" y="790142"/>
                  </a:cubicBezTo>
                  <a:cubicBezTo>
                    <a:pt x="2804810" y="855987"/>
                    <a:pt x="2804810" y="1015897"/>
                    <a:pt x="2723420" y="1015897"/>
                  </a:cubicBezTo>
                  <a:cubicBezTo>
                    <a:pt x="2635770" y="1014329"/>
                    <a:pt x="2638900" y="854419"/>
                    <a:pt x="2638900" y="787007"/>
                  </a:cubicBezTo>
                  <a:close/>
                  <a:moveTo>
                    <a:pt x="2238213" y="1125639"/>
                  </a:moveTo>
                  <a:cubicBezTo>
                    <a:pt x="2305516" y="1125639"/>
                    <a:pt x="2363428" y="1098987"/>
                    <a:pt x="2418209" y="1040981"/>
                  </a:cubicBezTo>
                  <a:lnTo>
                    <a:pt x="2369688" y="950052"/>
                  </a:lnTo>
                  <a:cubicBezTo>
                    <a:pt x="2332124" y="990813"/>
                    <a:pt x="2294560" y="1012761"/>
                    <a:pt x="2249169" y="1012761"/>
                  </a:cubicBezTo>
                  <a:cubicBezTo>
                    <a:pt x="2211605" y="1012761"/>
                    <a:pt x="2180301" y="990813"/>
                    <a:pt x="2161519" y="953187"/>
                  </a:cubicBezTo>
                  <a:cubicBezTo>
                    <a:pt x="2145867" y="920265"/>
                    <a:pt x="2142737" y="882639"/>
                    <a:pt x="2142737" y="841877"/>
                  </a:cubicBezTo>
                  <a:lnTo>
                    <a:pt x="2142737" y="829335"/>
                  </a:lnTo>
                  <a:lnTo>
                    <a:pt x="2424470" y="829335"/>
                  </a:lnTo>
                  <a:lnTo>
                    <a:pt x="2424470" y="801116"/>
                  </a:lnTo>
                  <a:cubicBezTo>
                    <a:pt x="2424470" y="661587"/>
                    <a:pt x="2407253" y="584768"/>
                    <a:pt x="2363428" y="526761"/>
                  </a:cubicBezTo>
                  <a:cubicBezTo>
                    <a:pt x="2330559" y="482865"/>
                    <a:pt x="2282038" y="459348"/>
                    <a:pt x="2222561" y="459348"/>
                  </a:cubicBezTo>
                  <a:cubicBezTo>
                    <a:pt x="2159954" y="459348"/>
                    <a:pt x="2108303" y="487568"/>
                    <a:pt x="2070738" y="542439"/>
                  </a:cubicBezTo>
                  <a:cubicBezTo>
                    <a:pt x="2030044" y="602013"/>
                    <a:pt x="2012826" y="681968"/>
                    <a:pt x="2012826" y="791710"/>
                  </a:cubicBezTo>
                  <a:cubicBezTo>
                    <a:pt x="2011261" y="1001787"/>
                    <a:pt x="2094216" y="1125639"/>
                    <a:pt x="2238213" y="1125639"/>
                  </a:cubicBezTo>
                  <a:close/>
                  <a:moveTo>
                    <a:pt x="2224126" y="562819"/>
                  </a:moveTo>
                  <a:cubicBezTo>
                    <a:pt x="2255430" y="562819"/>
                    <a:pt x="2274212" y="580065"/>
                    <a:pt x="2286734" y="608284"/>
                  </a:cubicBezTo>
                  <a:cubicBezTo>
                    <a:pt x="2296125" y="633368"/>
                    <a:pt x="2300820" y="675697"/>
                    <a:pt x="2300820" y="725865"/>
                  </a:cubicBezTo>
                  <a:lnTo>
                    <a:pt x="2142737" y="725865"/>
                  </a:lnTo>
                  <a:cubicBezTo>
                    <a:pt x="2144302" y="614555"/>
                    <a:pt x="2167780" y="562819"/>
                    <a:pt x="2224126" y="562819"/>
                  </a:cubicBezTo>
                  <a:close/>
                  <a:moveTo>
                    <a:pt x="3041152" y="1109961"/>
                  </a:moveTo>
                  <a:lnTo>
                    <a:pt x="3163237" y="1109961"/>
                  </a:lnTo>
                  <a:lnTo>
                    <a:pt x="3163237" y="639639"/>
                  </a:lnTo>
                  <a:cubicBezTo>
                    <a:pt x="3192975" y="603581"/>
                    <a:pt x="3227409" y="583200"/>
                    <a:pt x="3252452" y="583200"/>
                  </a:cubicBezTo>
                  <a:cubicBezTo>
                    <a:pt x="3268104" y="583200"/>
                    <a:pt x="3283756" y="586335"/>
                    <a:pt x="3293147" y="598877"/>
                  </a:cubicBezTo>
                  <a:cubicBezTo>
                    <a:pt x="3302538" y="612987"/>
                    <a:pt x="3307233" y="633368"/>
                    <a:pt x="3307233" y="681968"/>
                  </a:cubicBezTo>
                  <a:lnTo>
                    <a:pt x="3307233" y="1109961"/>
                  </a:lnTo>
                  <a:lnTo>
                    <a:pt x="3429318" y="1109961"/>
                  </a:lnTo>
                  <a:lnTo>
                    <a:pt x="3429318" y="625529"/>
                  </a:lnTo>
                  <a:cubicBezTo>
                    <a:pt x="3429318" y="583200"/>
                    <a:pt x="3424622" y="540871"/>
                    <a:pt x="3399579" y="509516"/>
                  </a:cubicBezTo>
                  <a:cubicBezTo>
                    <a:pt x="3377667" y="481297"/>
                    <a:pt x="3343233" y="464052"/>
                    <a:pt x="3299408" y="464052"/>
                  </a:cubicBezTo>
                  <a:cubicBezTo>
                    <a:pt x="3243061" y="464052"/>
                    <a:pt x="3185149" y="496974"/>
                    <a:pt x="3153845" y="534600"/>
                  </a:cubicBezTo>
                  <a:cubicBezTo>
                    <a:pt x="3152280" y="501677"/>
                    <a:pt x="3141324" y="470323"/>
                    <a:pt x="3138194" y="459348"/>
                  </a:cubicBezTo>
                  <a:lnTo>
                    <a:pt x="3023935" y="489136"/>
                  </a:lnTo>
                  <a:cubicBezTo>
                    <a:pt x="3030196" y="523626"/>
                    <a:pt x="3039587" y="565955"/>
                    <a:pt x="3039587" y="642774"/>
                  </a:cubicBezTo>
                  <a:lnTo>
                    <a:pt x="3039587" y="1109961"/>
                  </a:lnTo>
                  <a:close/>
                  <a:moveTo>
                    <a:pt x="1623096" y="534600"/>
                  </a:moveTo>
                  <a:cubicBezTo>
                    <a:pt x="1621530" y="501677"/>
                    <a:pt x="1610574" y="470323"/>
                    <a:pt x="1607444" y="459348"/>
                  </a:cubicBezTo>
                  <a:lnTo>
                    <a:pt x="1493185" y="489136"/>
                  </a:lnTo>
                  <a:cubicBezTo>
                    <a:pt x="1499446" y="523626"/>
                    <a:pt x="1508837" y="565955"/>
                    <a:pt x="1508837" y="642774"/>
                  </a:cubicBezTo>
                  <a:lnTo>
                    <a:pt x="1508837" y="1108394"/>
                  </a:lnTo>
                  <a:lnTo>
                    <a:pt x="1630922" y="1108394"/>
                  </a:lnTo>
                  <a:lnTo>
                    <a:pt x="1630922" y="638071"/>
                  </a:lnTo>
                  <a:cubicBezTo>
                    <a:pt x="1660660" y="602013"/>
                    <a:pt x="1695094" y="581632"/>
                    <a:pt x="1720137" y="581632"/>
                  </a:cubicBezTo>
                  <a:cubicBezTo>
                    <a:pt x="1735789" y="581632"/>
                    <a:pt x="1751441" y="584768"/>
                    <a:pt x="1760832" y="597310"/>
                  </a:cubicBezTo>
                  <a:cubicBezTo>
                    <a:pt x="1770223" y="611419"/>
                    <a:pt x="1774919" y="631800"/>
                    <a:pt x="1774919" y="680400"/>
                  </a:cubicBezTo>
                  <a:lnTo>
                    <a:pt x="1774919" y="1108394"/>
                  </a:lnTo>
                  <a:lnTo>
                    <a:pt x="1897003" y="1108394"/>
                  </a:lnTo>
                  <a:lnTo>
                    <a:pt x="1897003" y="625529"/>
                  </a:lnTo>
                  <a:cubicBezTo>
                    <a:pt x="1897003" y="583200"/>
                    <a:pt x="1892307" y="540871"/>
                    <a:pt x="1867264" y="509516"/>
                  </a:cubicBezTo>
                  <a:cubicBezTo>
                    <a:pt x="1845352" y="481297"/>
                    <a:pt x="1810918" y="464052"/>
                    <a:pt x="1767093" y="464052"/>
                  </a:cubicBezTo>
                  <a:cubicBezTo>
                    <a:pt x="1712311" y="464052"/>
                    <a:pt x="1654399" y="496974"/>
                    <a:pt x="1623096" y="534600"/>
                  </a:cubicBezTo>
                  <a:close/>
                  <a:moveTo>
                    <a:pt x="129910" y="260245"/>
                  </a:moveTo>
                  <a:cubicBezTo>
                    <a:pt x="201909" y="260245"/>
                    <a:pt x="259820" y="202239"/>
                    <a:pt x="259820" y="130123"/>
                  </a:cubicBezTo>
                  <a:cubicBezTo>
                    <a:pt x="259820" y="58006"/>
                    <a:pt x="201909" y="0"/>
                    <a:pt x="129910" y="0"/>
                  </a:cubicBezTo>
                  <a:cubicBezTo>
                    <a:pt x="57912" y="0"/>
                    <a:pt x="0" y="58006"/>
                    <a:pt x="0" y="130123"/>
                  </a:cubicBezTo>
                  <a:cubicBezTo>
                    <a:pt x="0" y="202239"/>
                    <a:pt x="57912" y="260245"/>
                    <a:pt x="129910" y="260245"/>
                  </a:cubicBezTo>
                  <a:close/>
                  <a:moveTo>
                    <a:pt x="729376" y="1109961"/>
                  </a:moveTo>
                  <a:lnTo>
                    <a:pt x="729376" y="625529"/>
                  </a:lnTo>
                  <a:cubicBezTo>
                    <a:pt x="729376" y="583200"/>
                    <a:pt x="724680" y="540871"/>
                    <a:pt x="699637" y="509516"/>
                  </a:cubicBezTo>
                  <a:cubicBezTo>
                    <a:pt x="677725" y="481297"/>
                    <a:pt x="643291" y="464052"/>
                    <a:pt x="599465" y="464052"/>
                  </a:cubicBezTo>
                  <a:cubicBezTo>
                    <a:pt x="543119" y="464052"/>
                    <a:pt x="485207" y="496974"/>
                    <a:pt x="453903" y="534600"/>
                  </a:cubicBezTo>
                  <a:cubicBezTo>
                    <a:pt x="452338" y="501677"/>
                    <a:pt x="441382" y="470323"/>
                    <a:pt x="438251" y="459348"/>
                  </a:cubicBezTo>
                  <a:lnTo>
                    <a:pt x="325558" y="490703"/>
                  </a:lnTo>
                  <a:cubicBezTo>
                    <a:pt x="331819" y="525194"/>
                    <a:pt x="341210" y="567523"/>
                    <a:pt x="341210" y="644342"/>
                  </a:cubicBezTo>
                  <a:lnTo>
                    <a:pt x="341210" y="1109961"/>
                  </a:lnTo>
                  <a:lnTo>
                    <a:pt x="463294" y="1109961"/>
                  </a:lnTo>
                  <a:lnTo>
                    <a:pt x="463294" y="639639"/>
                  </a:lnTo>
                  <a:cubicBezTo>
                    <a:pt x="493033" y="603581"/>
                    <a:pt x="527467" y="583200"/>
                    <a:pt x="552510" y="583200"/>
                  </a:cubicBezTo>
                  <a:cubicBezTo>
                    <a:pt x="568162" y="583200"/>
                    <a:pt x="583814" y="586335"/>
                    <a:pt x="593205" y="598877"/>
                  </a:cubicBezTo>
                  <a:cubicBezTo>
                    <a:pt x="602596" y="612987"/>
                    <a:pt x="607291" y="633368"/>
                    <a:pt x="607291" y="681968"/>
                  </a:cubicBezTo>
                  <a:lnTo>
                    <a:pt x="607291" y="1109961"/>
                  </a:lnTo>
                  <a:lnTo>
                    <a:pt x="729376" y="1109961"/>
                  </a:lnTo>
                  <a:close/>
                  <a:moveTo>
                    <a:pt x="1291277" y="225755"/>
                  </a:moveTo>
                  <a:cubicBezTo>
                    <a:pt x="1245886" y="225755"/>
                    <a:pt x="1209887" y="261813"/>
                    <a:pt x="1209887" y="307277"/>
                  </a:cubicBezTo>
                  <a:cubicBezTo>
                    <a:pt x="1209887" y="352742"/>
                    <a:pt x="1245886" y="388800"/>
                    <a:pt x="1289712" y="388800"/>
                  </a:cubicBezTo>
                  <a:cubicBezTo>
                    <a:pt x="1335102" y="388800"/>
                    <a:pt x="1371101" y="352742"/>
                    <a:pt x="1371101" y="307277"/>
                  </a:cubicBezTo>
                  <a:cubicBezTo>
                    <a:pt x="1371101" y="261813"/>
                    <a:pt x="1335102" y="225755"/>
                    <a:pt x="1291277" y="225755"/>
                  </a:cubicBezTo>
                  <a:close/>
                  <a:moveTo>
                    <a:pt x="71998" y="1109961"/>
                  </a:moveTo>
                  <a:lnTo>
                    <a:pt x="194083" y="1109961"/>
                  </a:lnTo>
                  <a:lnTo>
                    <a:pt x="194083" y="346471"/>
                  </a:lnTo>
                  <a:lnTo>
                    <a:pt x="71998" y="362148"/>
                  </a:lnTo>
                  <a:lnTo>
                    <a:pt x="71998" y="1109961"/>
                  </a:lnTo>
                  <a:close/>
                  <a:moveTo>
                    <a:pt x="1069021" y="301006"/>
                  </a:moveTo>
                  <a:cubicBezTo>
                    <a:pt x="1090933" y="301006"/>
                    <a:pt x="1112846" y="308845"/>
                    <a:pt x="1126932" y="319819"/>
                  </a:cubicBezTo>
                  <a:lnTo>
                    <a:pt x="1161366" y="224187"/>
                  </a:lnTo>
                  <a:cubicBezTo>
                    <a:pt x="1128498" y="200671"/>
                    <a:pt x="1092498" y="189697"/>
                    <a:pt x="1047108" y="189697"/>
                  </a:cubicBezTo>
                  <a:cubicBezTo>
                    <a:pt x="1015804" y="189697"/>
                    <a:pt x="982935" y="197535"/>
                    <a:pt x="953197" y="221052"/>
                  </a:cubicBezTo>
                  <a:cubicBezTo>
                    <a:pt x="923458" y="246135"/>
                    <a:pt x="892155" y="296303"/>
                    <a:pt x="892155" y="390368"/>
                  </a:cubicBezTo>
                  <a:cubicBezTo>
                    <a:pt x="892155" y="431129"/>
                    <a:pt x="893720" y="473458"/>
                    <a:pt x="893720" y="473458"/>
                  </a:cubicBezTo>
                  <a:lnTo>
                    <a:pt x="851460" y="473458"/>
                  </a:lnTo>
                  <a:lnTo>
                    <a:pt x="851460" y="581632"/>
                  </a:lnTo>
                  <a:lnTo>
                    <a:pt x="893720" y="581632"/>
                  </a:lnTo>
                  <a:lnTo>
                    <a:pt x="893720" y="1108394"/>
                  </a:lnTo>
                  <a:lnTo>
                    <a:pt x="1018935" y="1108394"/>
                  </a:lnTo>
                  <a:lnTo>
                    <a:pt x="1018935" y="583200"/>
                  </a:lnTo>
                  <a:lnTo>
                    <a:pt x="1111281" y="583200"/>
                  </a:lnTo>
                  <a:lnTo>
                    <a:pt x="1134758" y="475026"/>
                  </a:lnTo>
                  <a:lnTo>
                    <a:pt x="1020500" y="475026"/>
                  </a:lnTo>
                  <a:lnTo>
                    <a:pt x="1020500" y="377826"/>
                  </a:lnTo>
                  <a:cubicBezTo>
                    <a:pt x="1020500" y="330794"/>
                    <a:pt x="1039282" y="301006"/>
                    <a:pt x="1069021" y="301006"/>
                  </a:cubicBezTo>
                  <a:close/>
                  <a:moveTo>
                    <a:pt x="1228669" y="1109961"/>
                  </a:moveTo>
                  <a:lnTo>
                    <a:pt x="1352319" y="1109961"/>
                  </a:lnTo>
                  <a:lnTo>
                    <a:pt x="1352319" y="464052"/>
                  </a:lnTo>
                  <a:lnTo>
                    <a:pt x="1228669" y="479729"/>
                  </a:lnTo>
                  <a:lnTo>
                    <a:pt x="1228669" y="1109961"/>
                  </a:lnTo>
                  <a:close/>
                </a:path>
              </a:pathLst>
            </a:custGeom>
            <a:solidFill>
              <a:srgbClr val="005DA9"/>
            </a:solidFill>
            <a:ln w="156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F60EEAB-08EF-4699-AAD1-3E74796DF911}"/>
                </a:ext>
              </a:extLst>
            </p:cNvPr>
            <p:cNvSpPr/>
            <p:nvPr userDrawn="1"/>
          </p:nvSpPr>
          <p:spPr>
            <a:xfrm>
              <a:off x="3859415" y="1750829"/>
              <a:ext cx="4435730" cy="1944213"/>
            </a:xfrm>
            <a:custGeom>
              <a:avLst/>
              <a:gdLst>
                <a:gd name="connsiteX0" fmla="*/ 3764267 w 4435730"/>
                <a:gd name="connsiteY0" fmla="*/ 1637936 h 1944213"/>
                <a:gd name="connsiteX1" fmla="*/ 2357167 w 4435730"/>
                <a:gd name="connsiteY1" fmla="*/ 1813523 h 1944213"/>
                <a:gd name="connsiteX2" fmla="*/ 248864 w 4435730"/>
                <a:gd name="connsiteY2" fmla="*/ 962240 h 1944213"/>
                <a:gd name="connsiteX3" fmla="*/ 608857 w 4435730"/>
                <a:gd name="connsiteY3" fmla="*/ 452723 h 1944213"/>
                <a:gd name="connsiteX4" fmla="*/ 538423 w 4435730"/>
                <a:gd name="connsiteY4" fmla="*/ 314762 h 1944213"/>
                <a:gd name="connsiteX5" fmla="*/ 0 w 4435730"/>
                <a:gd name="connsiteY5" fmla="*/ 976349 h 1944213"/>
                <a:gd name="connsiteX6" fmla="*/ 2369688 w 4435730"/>
                <a:gd name="connsiteY6" fmla="*/ 1943646 h 1944213"/>
                <a:gd name="connsiteX7" fmla="*/ 3646878 w 4435730"/>
                <a:gd name="connsiteY7" fmla="*/ 1744543 h 1944213"/>
                <a:gd name="connsiteX8" fmla="*/ 4435731 w 4435730"/>
                <a:gd name="connsiteY8" fmla="*/ 1302440 h 1944213"/>
                <a:gd name="connsiteX9" fmla="*/ 3764267 w 4435730"/>
                <a:gd name="connsiteY9" fmla="*/ 1637936 h 1944213"/>
                <a:gd name="connsiteX10" fmla="*/ 1136323 w 4435730"/>
                <a:gd name="connsiteY10" fmla="*/ 214427 h 1944213"/>
                <a:gd name="connsiteX11" fmla="*/ 1336667 w 4435730"/>
                <a:gd name="connsiteY11" fmla="*/ 150149 h 1944213"/>
                <a:gd name="connsiteX12" fmla="*/ 2371254 w 4435730"/>
                <a:gd name="connsiteY12" fmla="*/ 9052 h 1944213"/>
                <a:gd name="connsiteX13" fmla="*/ 1311624 w 4435730"/>
                <a:gd name="connsiteY13" fmla="*/ 65491 h 1944213"/>
                <a:gd name="connsiteX14" fmla="*/ 1097194 w 4435730"/>
                <a:gd name="connsiteY14" fmla="*/ 110956 h 1944213"/>
                <a:gd name="connsiteX15" fmla="*/ 1011109 w 4435730"/>
                <a:gd name="connsiteY15" fmla="*/ 134472 h 1944213"/>
                <a:gd name="connsiteX16" fmla="*/ 932850 w 4435730"/>
                <a:gd name="connsiteY16" fmla="*/ 156420 h 1944213"/>
                <a:gd name="connsiteX17" fmla="*/ 838939 w 4435730"/>
                <a:gd name="connsiteY17" fmla="*/ 187775 h 1944213"/>
                <a:gd name="connsiteX18" fmla="*/ 890590 w 4435730"/>
                <a:gd name="connsiteY18" fmla="*/ 306923 h 1944213"/>
                <a:gd name="connsiteX19" fmla="*/ 1136323 w 4435730"/>
                <a:gd name="connsiteY19" fmla="*/ 214427 h 1944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435730" h="1944213">
                  <a:moveTo>
                    <a:pt x="3764267" y="1637936"/>
                  </a:moveTo>
                  <a:cubicBezTo>
                    <a:pt x="3351059" y="1760220"/>
                    <a:pt x="2848635" y="1813523"/>
                    <a:pt x="2357167" y="1813523"/>
                  </a:cubicBezTo>
                  <a:cubicBezTo>
                    <a:pt x="1109715" y="1813523"/>
                    <a:pt x="305211" y="1446672"/>
                    <a:pt x="248864" y="962240"/>
                  </a:cubicBezTo>
                  <a:cubicBezTo>
                    <a:pt x="228517" y="780381"/>
                    <a:pt x="370949" y="603227"/>
                    <a:pt x="608857" y="452723"/>
                  </a:cubicBezTo>
                  <a:cubicBezTo>
                    <a:pt x="566597" y="421369"/>
                    <a:pt x="539988" y="371201"/>
                    <a:pt x="538423" y="314762"/>
                  </a:cubicBezTo>
                  <a:cubicBezTo>
                    <a:pt x="194083" y="496620"/>
                    <a:pt x="0" y="734917"/>
                    <a:pt x="0" y="976349"/>
                  </a:cubicBezTo>
                  <a:cubicBezTo>
                    <a:pt x="0" y="1510949"/>
                    <a:pt x="953197" y="1962459"/>
                    <a:pt x="2369688" y="1943646"/>
                  </a:cubicBezTo>
                  <a:cubicBezTo>
                    <a:pt x="2862721" y="1937375"/>
                    <a:pt x="3274365" y="1866827"/>
                    <a:pt x="3646878" y="1744543"/>
                  </a:cubicBezTo>
                  <a:cubicBezTo>
                    <a:pt x="4089825" y="1600311"/>
                    <a:pt x="4368428" y="1393369"/>
                    <a:pt x="4435731" y="1302440"/>
                  </a:cubicBezTo>
                  <a:cubicBezTo>
                    <a:pt x="4355907" y="1374556"/>
                    <a:pt x="4166520" y="1518788"/>
                    <a:pt x="3764267" y="1637936"/>
                  </a:cubicBezTo>
                  <a:close/>
                  <a:moveTo>
                    <a:pt x="1136323" y="214427"/>
                  </a:moveTo>
                  <a:cubicBezTo>
                    <a:pt x="1219278" y="186207"/>
                    <a:pt x="1336667" y="150149"/>
                    <a:pt x="1336667" y="150149"/>
                  </a:cubicBezTo>
                  <a:cubicBezTo>
                    <a:pt x="1666921" y="59220"/>
                    <a:pt x="2031609" y="5917"/>
                    <a:pt x="2371254" y="9052"/>
                  </a:cubicBezTo>
                  <a:cubicBezTo>
                    <a:pt x="1979958" y="-14464"/>
                    <a:pt x="1623096" y="9052"/>
                    <a:pt x="1311624" y="65491"/>
                  </a:cubicBezTo>
                  <a:cubicBezTo>
                    <a:pt x="1311624" y="65491"/>
                    <a:pt x="1208322" y="82736"/>
                    <a:pt x="1097194" y="110956"/>
                  </a:cubicBezTo>
                  <a:cubicBezTo>
                    <a:pt x="1097194" y="110956"/>
                    <a:pt x="1043978" y="125065"/>
                    <a:pt x="1011109" y="134472"/>
                  </a:cubicBezTo>
                  <a:cubicBezTo>
                    <a:pt x="978240" y="143878"/>
                    <a:pt x="932850" y="156420"/>
                    <a:pt x="932850" y="156420"/>
                  </a:cubicBezTo>
                  <a:cubicBezTo>
                    <a:pt x="901546" y="165827"/>
                    <a:pt x="870242" y="176801"/>
                    <a:pt x="838939" y="187775"/>
                  </a:cubicBezTo>
                  <a:cubicBezTo>
                    <a:pt x="870242" y="219130"/>
                    <a:pt x="889024" y="259891"/>
                    <a:pt x="890590" y="306923"/>
                  </a:cubicBezTo>
                  <a:cubicBezTo>
                    <a:pt x="945371" y="281840"/>
                    <a:pt x="1050238" y="244214"/>
                    <a:pt x="1136323" y="214427"/>
                  </a:cubicBezTo>
                  <a:close/>
                </a:path>
              </a:pathLst>
            </a:custGeom>
            <a:solidFill>
              <a:srgbClr val="E30034"/>
            </a:solidFill>
            <a:ln w="156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ADDB2795-DB3B-40A3-B89C-858C63FC06F1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0E8F659-6D17-4A54-BF14-8E3536EAD1C1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83B5BA-723A-4405-A758-172E5648B93E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7D4C4BA3-EB41-4D16-AC7A-1D39D9C25FCF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F453EFB-4C66-424D-935B-1B2057CC2B64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26861E4-4C53-40F8-8225-0CFFDC5696CD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1 Sep 2023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1 Sep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1 Sep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pSp>
        <p:nvGrpSpPr>
          <p:cNvPr id="4" name="Logo">
            <a:extLst>
              <a:ext uri="{FF2B5EF4-FFF2-40B4-BE49-F238E27FC236}">
                <a16:creationId xmlns:a16="http://schemas.microsoft.com/office/drawing/2014/main" id="{54A1A9A0-DAEC-421A-A9E5-C850C1A8370F}"/>
              </a:ext>
            </a:extLst>
          </p:cNvPr>
          <p:cNvGrpSpPr/>
          <p:nvPr userDrawn="1"/>
        </p:nvGrpSpPr>
        <p:grpSpPr>
          <a:xfrm>
            <a:off x="10659752" y="193689"/>
            <a:ext cx="1206736" cy="528057"/>
            <a:chOff x="10659752" y="193689"/>
            <a:chExt cx="1206736" cy="528057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5590F6B-D0B1-EBB5-AC0E-AE93E62767D3}"/>
                </a:ext>
              </a:extLst>
            </p:cNvPr>
            <p:cNvSpPr/>
            <p:nvPr/>
          </p:nvSpPr>
          <p:spPr>
            <a:xfrm>
              <a:off x="10819003" y="243412"/>
              <a:ext cx="932942" cy="305729"/>
            </a:xfrm>
            <a:custGeom>
              <a:avLst/>
              <a:gdLst>
                <a:gd name="connsiteX0" fmla="*/ 740052 w 932942"/>
                <a:gd name="connsiteY0" fmla="*/ 305729 h 305729"/>
                <a:gd name="connsiteX1" fmla="*/ 799239 w 932942"/>
                <a:gd name="connsiteY1" fmla="*/ 214181 h 305729"/>
                <a:gd name="connsiteX2" fmla="*/ 740052 w 932942"/>
                <a:gd name="connsiteY2" fmla="*/ 124761 h 305729"/>
                <a:gd name="connsiteX3" fmla="*/ 681717 w 932942"/>
                <a:gd name="connsiteY3" fmla="*/ 215032 h 305729"/>
                <a:gd name="connsiteX4" fmla="*/ 740052 w 932942"/>
                <a:gd name="connsiteY4" fmla="*/ 305729 h 305729"/>
                <a:gd name="connsiteX5" fmla="*/ 717910 w 932942"/>
                <a:gd name="connsiteY5" fmla="*/ 213755 h 305729"/>
                <a:gd name="connsiteX6" fmla="*/ 740052 w 932942"/>
                <a:gd name="connsiteY6" fmla="*/ 155419 h 305729"/>
                <a:gd name="connsiteX7" fmla="*/ 763046 w 932942"/>
                <a:gd name="connsiteY7" fmla="*/ 214606 h 305729"/>
                <a:gd name="connsiteX8" fmla="*/ 740904 w 932942"/>
                <a:gd name="connsiteY8" fmla="*/ 275923 h 305729"/>
                <a:gd name="connsiteX9" fmla="*/ 717910 w 932942"/>
                <a:gd name="connsiteY9" fmla="*/ 213755 h 305729"/>
                <a:gd name="connsiteX10" fmla="*/ 608904 w 932942"/>
                <a:gd name="connsiteY10" fmla="*/ 305729 h 305729"/>
                <a:gd name="connsiteX11" fmla="*/ 657871 w 932942"/>
                <a:gd name="connsiteY11" fmla="*/ 282735 h 305729"/>
                <a:gd name="connsiteX12" fmla="*/ 644671 w 932942"/>
                <a:gd name="connsiteY12" fmla="*/ 258039 h 305729"/>
                <a:gd name="connsiteX13" fmla="*/ 611884 w 932942"/>
                <a:gd name="connsiteY13" fmla="*/ 275071 h 305729"/>
                <a:gd name="connsiteX14" fmla="*/ 588039 w 932942"/>
                <a:gd name="connsiteY14" fmla="*/ 258890 h 305729"/>
                <a:gd name="connsiteX15" fmla="*/ 582929 w 932942"/>
                <a:gd name="connsiteY15" fmla="*/ 228658 h 305729"/>
                <a:gd name="connsiteX16" fmla="*/ 582929 w 932942"/>
                <a:gd name="connsiteY16" fmla="*/ 225252 h 305729"/>
                <a:gd name="connsiteX17" fmla="*/ 659575 w 932942"/>
                <a:gd name="connsiteY17" fmla="*/ 225252 h 305729"/>
                <a:gd name="connsiteX18" fmla="*/ 659575 w 932942"/>
                <a:gd name="connsiteY18" fmla="*/ 217587 h 305729"/>
                <a:gd name="connsiteX19" fmla="*/ 642968 w 932942"/>
                <a:gd name="connsiteY19" fmla="*/ 143071 h 305729"/>
                <a:gd name="connsiteX20" fmla="*/ 604645 w 932942"/>
                <a:gd name="connsiteY20" fmla="*/ 124761 h 305729"/>
                <a:gd name="connsiteX21" fmla="*/ 563342 w 932942"/>
                <a:gd name="connsiteY21" fmla="*/ 147329 h 305729"/>
                <a:gd name="connsiteX22" fmla="*/ 547587 w 932942"/>
                <a:gd name="connsiteY22" fmla="*/ 215032 h 305729"/>
                <a:gd name="connsiteX23" fmla="*/ 608904 w 932942"/>
                <a:gd name="connsiteY23" fmla="*/ 305729 h 305729"/>
                <a:gd name="connsiteX24" fmla="*/ 605071 w 932942"/>
                <a:gd name="connsiteY24" fmla="*/ 152865 h 305729"/>
                <a:gd name="connsiteX25" fmla="*/ 622104 w 932942"/>
                <a:gd name="connsiteY25" fmla="*/ 165213 h 305729"/>
                <a:gd name="connsiteX26" fmla="*/ 625936 w 932942"/>
                <a:gd name="connsiteY26" fmla="*/ 197148 h 305729"/>
                <a:gd name="connsiteX27" fmla="*/ 582929 w 932942"/>
                <a:gd name="connsiteY27" fmla="*/ 197148 h 305729"/>
                <a:gd name="connsiteX28" fmla="*/ 605071 w 932942"/>
                <a:gd name="connsiteY28" fmla="*/ 152865 h 305729"/>
                <a:gd name="connsiteX29" fmla="*/ 827342 w 932942"/>
                <a:gd name="connsiteY29" fmla="*/ 301471 h 305729"/>
                <a:gd name="connsiteX30" fmla="*/ 860555 w 932942"/>
                <a:gd name="connsiteY30" fmla="*/ 301471 h 305729"/>
                <a:gd name="connsiteX31" fmla="*/ 860555 w 932942"/>
                <a:gd name="connsiteY31" fmla="*/ 173729 h 305729"/>
                <a:gd name="connsiteX32" fmla="*/ 884826 w 932942"/>
                <a:gd name="connsiteY32" fmla="*/ 158400 h 305729"/>
                <a:gd name="connsiteX33" fmla="*/ 895897 w 932942"/>
                <a:gd name="connsiteY33" fmla="*/ 162658 h 305729"/>
                <a:gd name="connsiteX34" fmla="*/ 899730 w 932942"/>
                <a:gd name="connsiteY34" fmla="*/ 185226 h 305729"/>
                <a:gd name="connsiteX35" fmla="*/ 899730 w 932942"/>
                <a:gd name="connsiteY35" fmla="*/ 301471 h 305729"/>
                <a:gd name="connsiteX36" fmla="*/ 932942 w 932942"/>
                <a:gd name="connsiteY36" fmla="*/ 301471 h 305729"/>
                <a:gd name="connsiteX37" fmla="*/ 932942 w 932942"/>
                <a:gd name="connsiteY37" fmla="*/ 169897 h 305729"/>
                <a:gd name="connsiteX38" fmla="*/ 924852 w 932942"/>
                <a:gd name="connsiteY38" fmla="*/ 138387 h 305729"/>
                <a:gd name="connsiteX39" fmla="*/ 897601 w 932942"/>
                <a:gd name="connsiteY39" fmla="*/ 126039 h 305729"/>
                <a:gd name="connsiteX40" fmla="*/ 858000 w 932942"/>
                <a:gd name="connsiteY40" fmla="*/ 145200 h 305729"/>
                <a:gd name="connsiteX41" fmla="*/ 853742 w 932942"/>
                <a:gd name="connsiteY41" fmla="*/ 124761 h 305729"/>
                <a:gd name="connsiteX42" fmla="*/ 822659 w 932942"/>
                <a:gd name="connsiteY42" fmla="*/ 132852 h 305729"/>
                <a:gd name="connsiteX43" fmla="*/ 826917 w 932942"/>
                <a:gd name="connsiteY43" fmla="*/ 174581 h 305729"/>
                <a:gd name="connsiteX44" fmla="*/ 826917 w 932942"/>
                <a:gd name="connsiteY44" fmla="*/ 301471 h 305729"/>
                <a:gd name="connsiteX45" fmla="*/ 441562 w 932942"/>
                <a:gd name="connsiteY45" fmla="*/ 145200 h 305729"/>
                <a:gd name="connsiteX46" fmla="*/ 437304 w 932942"/>
                <a:gd name="connsiteY46" fmla="*/ 124761 h 305729"/>
                <a:gd name="connsiteX47" fmla="*/ 406220 w 932942"/>
                <a:gd name="connsiteY47" fmla="*/ 132852 h 305729"/>
                <a:gd name="connsiteX48" fmla="*/ 410478 w 932942"/>
                <a:gd name="connsiteY48" fmla="*/ 174581 h 305729"/>
                <a:gd name="connsiteX49" fmla="*/ 410478 w 932942"/>
                <a:gd name="connsiteY49" fmla="*/ 301045 h 305729"/>
                <a:gd name="connsiteX50" fmla="*/ 443691 w 932942"/>
                <a:gd name="connsiteY50" fmla="*/ 301045 h 305729"/>
                <a:gd name="connsiteX51" fmla="*/ 443691 w 932942"/>
                <a:gd name="connsiteY51" fmla="*/ 173303 h 305729"/>
                <a:gd name="connsiteX52" fmla="*/ 467962 w 932942"/>
                <a:gd name="connsiteY52" fmla="*/ 157974 h 305729"/>
                <a:gd name="connsiteX53" fmla="*/ 479033 w 932942"/>
                <a:gd name="connsiteY53" fmla="*/ 162232 h 305729"/>
                <a:gd name="connsiteX54" fmla="*/ 482865 w 932942"/>
                <a:gd name="connsiteY54" fmla="*/ 184800 h 305729"/>
                <a:gd name="connsiteX55" fmla="*/ 482865 w 932942"/>
                <a:gd name="connsiteY55" fmla="*/ 301045 h 305729"/>
                <a:gd name="connsiteX56" fmla="*/ 516078 w 932942"/>
                <a:gd name="connsiteY56" fmla="*/ 301045 h 305729"/>
                <a:gd name="connsiteX57" fmla="*/ 516078 w 932942"/>
                <a:gd name="connsiteY57" fmla="*/ 169897 h 305729"/>
                <a:gd name="connsiteX58" fmla="*/ 507987 w 932942"/>
                <a:gd name="connsiteY58" fmla="*/ 138387 h 305729"/>
                <a:gd name="connsiteX59" fmla="*/ 480736 w 932942"/>
                <a:gd name="connsiteY59" fmla="*/ 126039 h 305729"/>
                <a:gd name="connsiteX60" fmla="*/ 441562 w 932942"/>
                <a:gd name="connsiteY60" fmla="*/ 145200 h 305729"/>
                <a:gd name="connsiteX61" fmla="*/ 35342 w 932942"/>
                <a:gd name="connsiteY61" fmla="*/ 70684 h 305729"/>
                <a:gd name="connsiteX62" fmla="*/ 70684 w 932942"/>
                <a:gd name="connsiteY62" fmla="*/ 35342 h 305729"/>
                <a:gd name="connsiteX63" fmla="*/ 35342 w 932942"/>
                <a:gd name="connsiteY63" fmla="*/ 0 h 305729"/>
                <a:gd name="connsiteX64" fmla="*/ 0 w 932942"/>
                <a:gd name="connsiteY64" fmla="*/ 35342 h 305729"/>
                <a:gd name="connsiteX65" fmla="*/ 35342 w 932942"/>
                <a:gd name="connsiteY65" fmla="*/ 70684 h 305729"/>
                <a:gd name="connsiteX66" fmla="*/ 198426 w 932942"/>
                <a:gd name="connsiteY66" fmla="*/ 301471 h 305729"/>
                <a:gd name="connsiteX67" fmla="*/ 198426 w 932942"/>
                <a:gd name="connsiteY67" fmla="*/ 169897 h 305729"/>
                <a:gd name="connsiteX68" fmla="*/ 190336 w 932942"/>
                <a:gd name="connsiteY68" fmla="*/ 138387 h 305729"/>
                <a:gd name="connsiteX69" fmla="*/ 163084 w 932942"/>
                <a:gd name="connsiteY69" fmla="*/ 126039 h 305729"/>
                <a:gd name="connsiteX70" fmla="*/ 123484 w 932942"/>
                <a:gd name="connsiteY70" fmla="*/ 145200 h 305729"/>
                <a:gd name="connsiteX71" fmla="*/ 119226 w 932942"/>
                <a:gd name="connsiteY71" fmla="*/ 124761 h 305729"/>
                <a:gd name="connsiteX72" fmla="*/ 88568 w 932942"/>
                <a:gd name="connsiteY72" fmla="*/ 133277 h 305729"/>
                <a:gd name="connsiteX73" fmla="*/ 92826 w 932942"/>
                <a:gd name="connsiteY73" fmla="*/ 175006 h 305729"/>
                <a:gd name="connsiteX74" fmla="*/ 92826 w 932942"/>
                <a:gd name="connsiteY74" fmla="*/ 301471 h 305729"/>
                <a:gd name="connsiteX75" fmla="*/ 126039 w 932942"/>
                <a:gd name="connsiteY75" fmla="*/ 301471 h 305729"/>
                <a:gd name="connsiteX76" fmla="*/ 126039 w 932942"/>
                <a:gd name="connsiteY76" fmla="*/ 173729 h 305729"/>
                <a:gd name="connsiteX77" fmla="*/ 150310 w 932942"/>
                <a:gd name="connsiteY77" fmla="*/ 158400 h 305729"/>
                <a:gd name="connsiteX78" fmla="*/ 161381 w 932942"/>
                <a:gd name="connsiteY78" fmla="*/ 162658 h 305729"/>
                <a:gd name="connsiteX79" fmla="*/ 165213 w 932942"/>
                <a:gd name="connsiteY79" fmla="*/ 185226 h 305729"/>
                <a:gd name="connsiteX80" fmla="*/ 165213 w 932942"/>
                <a:gd name="connsiteY80" fmla="*/ 301471 h 305729"/>
                <a:gd name="connsiteX81" fmla="*/ 198426 w 932942"/>
                <a:gd name="connsiteY81" fmla="*/ 301471 h 305729"/>
                <a:gd name="connsiteX82" fmla="*/ 351291 w 932942"/>
                <a:gd name="connsiteY82" fmla="*/ 61316 h 305729"/>
                <a:gd name="connsiteX83" fmla="*/ 329149 w 932942"/>
                <a:gd name="connsiteY83" fmla="*/ 83458 h 305729"/>
                <a:gd name="connsiteX84" fmla="*/ 350865 w 932942"/>
                <a:gd name="connsiteY84" fmla="*/ 105600 h 305729"/>
                <a:gd name="connsiteX85" fmla="*/ 373007 w 932942"/>
                <a:gd name="connsiteY85" fmla="*/ 83458 h 305729"/>
                <a:gd name="connsiteX86" fmla="*/ 351291 w 932942"/>
                <a:gd name="connsiteY86" fmla="*/ 61316 h 305729"/>
                <a:gd name="connsiteX87" fmla="*/ 19587 w 932942"/>
                <a:gd name="connsiteY87" fmla="*/ 301471 h 305729"/>
                <a:gd name="connsiteX88" fmla="*/ 52800 w 932942"/>
                <a:gd name="connsiteY88" fmla="*/ 301471 h 305729"/>
                <a:gd name="connsiteX89" fmla="*/ 52800 w 932942"/>
                <a:gd name="connsiteY89" fmla="*/ 94103 h 305729"/>
                <a:gd name="connsiteX90" fmla="*/ 19587 w 932942"/>
                <a:gd name="connsiteY90" fmla="*/ 98361 h 305729"/>
                <a:gd name="connsiteX91" fmla="*/ 19587 w 932942"/>
                <a:gd name="connsiteY91" fmla="*/ 301471 h 305729"/>
                <a:gd name="connsiteX92" fmla="*/ 290826 w 932942"/>
                <a:gd name="connsiteY92" fmla="*/ 81755 h 305729"/>
                <a:gd name="connsiteX93" fmla="*/ 306581 w 932942"/>
                <a:gd name="connsiteY93" fmla="*/ 86865 h 305729"/>
                <a:gd name="connsiteX94" fmla="*/ 315949 w 932942"/>
                <a:gd name="connsiteY94" fmla="*/ 60890 h 305729"/>
                <a:gd name="connsiteX95" fmla="*/ 284865 w 932942"/>
                <a:gd name="connsiteY95" fmla="*/ 51523 h 305729"/>
                <a:gd name="connsiteX96" fmla="*/ 259316 w 932942"/>
                <a:gd name="connsiteY96" fmla="*/ 60039 h 305729"/>
                <a:gd name="connsiteX97" fmla="*/ 242710 w 932942"/>
                <a:gd name="connsiteY97" fmla="*/ 106026 h 305729"/>
                <a:gd name="connsiteX98" fmla="*/ 243136 w 932942"/>
                <a:gd name="connsiteY98" fmla="*/ 128594 h 305729"/>
                <a:gd name="connsiteX99" fmla="*/ 231639 w 932942"/>
                <a:gd name="connsiteY99" fmla="*/ 128594 h 305729"/>
                <a:gd name="connsiteX100" fmla="*/ 231639 w 932942"/>
                <a:gd name="connsiteY100" fmla="*/ 157974 h 305729"/>
                <a:gd name="connsiteX101" fmla="*/ 243136 w 932942"/>
                <a:gd name="connsiteY101" fmla="*/ 157974 h 305729"/>
                <a:gd name="connsiteX102" fmla="*/ 243136 w 932942"/>
                <a:gd name="connsiteY102" fmla="*/ 301045 h 305729"/>
                <a:gd name="connsiteX103" fmla="*/ 277200 w 932942"/>
                <a:gd name="connsiteY103" fmla="*/ 301045 h 305729"/>
                <a:gd name="connsiteX104" fmla="*/ 277200 w 932942"/>
                <a:gd name="connsiteY104" fmla="*/ 158400 h 305729"/>
                <a:gd name="connsiteX105" fmla="*/ 302323 w 932942"/>
                <a:gd name="connsiteY105" fmla="*/ 158400 h 305729"/>
                <a:gd name="connsiteX106" fmla="*/ 308710 w 932942"/>
                <a:gd name="connsiteY106" fmla="*/ 129019 h 305729"/>
                <a:gd name="connsiteX107" fmla="*/ 277626 w 932942"/>
                <a:gd name="connsiteY107" fmla="*/ 129019 h 305729"/>
                <a:gd name="connsiteX108" fmla="*/ 277626 w 932942"/>
                <a:gd name="connsiteY108" fmla="*/ 102619 h 305729"/>
                <a:gd name="connsiteX109" fmla="*/ 290826 w 932942"/>
                <a:gd name="connsiteY109" fmla="*/ 81755 h 305729"/>
                <a:gd name="connsiteX110" fmla="*/ 334258 w 932942"/>
                <a:gd name="connsiteY110" fmla="*/ 301471 h 305729"/>
                <a:gd name="connsiteX111" fmla="*/ 367897 w 932942"/>
                <a:gd name="connsiteY111" fmla="*/ 301471 h 305729"/>
                <a:gd name="connsiteX112" fmla="*/ 367897 w 932942"/>
                <a:gd name="connsiteY112" fmla="*/ 126039 h 305729"/>
                <a:gd name="connsiteX113" fmla="*/ 334258 w 932942"/>
                <a:gd name="connsiteY113" fmla="*/ 130297 h 305729"/>
                <a:gd name="connsiteX114" fmla="*/ 334258 w 932942"/>
                <a:gd name="connsiteY114" fmla="*/ 301471 h 3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932942" h="305729">
                  <a:moveTo>
                    <a:pt x="740052" y="305729"/>
                  </a:moveTo>
                  <a:cubicBezTo>
                    <a:pt x="785188" y="305729"/>
                    <a:pt x="799239" y="258039"/>
                    <a:pt x="799239" y="214181"/>
                  </a:cubicBezTo>
                  <a:cubicBezTo>
                    <a:pt x="799239" y="155419"/>
                    <a:pt x="774542" y="124761"/>
                    <a:pt x="740052" y="124761"/>
                  </a:cubicBezTo>
                  <a:cubicBezTo>
                    <a:pt x="696620" y="124761"/>
                    <a:pt x="681291" y="172452"/>
                    <a:pt x="681717" y="215032"/>
                  </a:cubicBezTo>
                  <a:cubicBezTo>
                    <a:pt x="682142" y="257187"/>
                    <a:pt x="694065" y="305729"/>
                    <a:pt x="740052" y="305729"/>
                  </a:cubicBezTo>
                  <a:close/>
                  <a:moveTo>
                    <a:pt x="717910" y="213755"/>
                  </a:moveTo>
                  <a:cubicBezTo>
                    <a:pt x="717910" y="196297"/>
                    <a:pt x="717910" y="155419"/>
                    <a:pt x="740052" y="155419"/>
                  </a:cubicBezTo>
                  <a:cubicBezTo>
                    <a:pt x="763897" y="155419"/>
                    <a:pt x="763046" y="195871"/>
                    <a:pt x="763046" y="214606"/>
                  </a:cubicBezTo>
                  <a:cubicBezTo>
                    <a:pt x="763046" y="232490"/>
                    <a:pt x="763046" y="275923"/>
                    <a:pt x="740904" y="275923"/>
                  </a:cubicBezTo>
                  <a:cubicBezTo>
                    <a:pt x="717059" y="275497"/>
                    <a:pt x="717910" y="232065"/>
                    <a:pt x="717910" y="213755"/>
                  </a:cubicBezTo>
                  <a:close/>
                  <a:moveTo>
                    <a:pt x="608904" y="305729"/>
                  </a:moveTo>
                  <a:cubicBezTo>
                    <a:pt x="627213" y="305729"/>
                    <a:pt x="642968" y="298490"/>
                    <a:pt x="657871" y="282735"/>
                  </a:cubicBezTo>
                  <a:lnTo>
                    <a:pt x="644671" y="258039"/>
                  </a:lnTo>
                  <a:cubicBezTo>
                    <a:pt x="634452" y="269110"/>
                    <a:pt x="624233" y="275071"/>
                    <a:pt x="611884" y="275071"/>
                  </a:cubicBezTo>
                  <a:cubicBezTo>
                    <a:pt x="601665" y="275071"/>
                    <a:pt x="593149" y="269110"/>
                    <a:pt x="588039" y="258890"/>
                  </a:cubicBezTo>
                  <a:cubicBezTo>
                    <a:pt x="583781" y="249948"/>
                    <a:pt x="582929" y="239729"/>
                    <a:pt x="582929" y="228658"/>
                  </a:cubicBezTo>
                  <a:lnTo>
                    <a:pt x="582929" y="225252"/>
                  </a:lnTo>
                  <a:lnTo>
                    <a:pt x="659575" y="225252"/>
                  </a:lnTo>
                  <a:lnTo>
                    <a:pt x="659575" y="217587"/>
                  </a:lnTo>
                  <a:cubicBezTo>
                    <a:pt x="659575" y="179690"/>
                    <a:pt x="654891" y="158826"/>
                    <a:pt x="642968" y="143071"/>
                  </a:cubicBezTo>
                  <a:cubicBezTo>
                    <a:pt x="634026" y="131148"/>
                    <a:pt x="620826" y="124761"/>
                    <a:pt x="604645" y="124761"/>
                  </a:cubicBezTo>
                  <a:cubicBezTo>
                    <a:pt x="587613" y="124761"/>
                    <a:pt x="573562" y="132426"/>
                    <a:pt x="563342" y="147329"/>
                  </a:cubicBezTo>
                  <a:cubicBezTo>
                    <a:pt x="552271" y="163510"/>
                    <a:pt x="547587" y="185226"/>
                    <a:pt x="547587" y="215032"/>
                  </a:cubicBezTo>
                  <a:cubicBezTo>
                    <a:pt x="547162" y="272090"/>
                    <a:pt x="569729" y="305729"/>
                    <a:pt x="608904" y="305729"/>
                  </a:cubicBezTo>
                  <a:close/>
                  <a:moveTo>
                    <a:pt x="605071" y="152865"/>
                  </a:moveTo>
                  <a:cubicBezTo>
                    <a:pt x="613587" y="152865"/>
                    <a:pt x="618697" y="157548"/>
                    <a:pt x="622104" y="165213"/>
                  </a:cubicBezTo>
                  <a:cubicBezTo>
                    <a:pt x="624658" y="172026"/>
                    <a:pt x="625936" y="183523"/>
                    <a:pt x="625936" y="197148"/>
                  </a:cubicBezTo>
                  <a:lnTo>
                    <a:pt x="582929" y="197148"/>
                  </a:lnTo>
                  <a:cubicBezTo>
                    <a:pt x="583355" y="166916"/>
                    <a:pt x="589742" y="152865"/>
                    <a:pt x="605071" y="152865"/>
                  </a:cubicBezTo>
                  <a:close/>
                  <a:moveTo>
                    <a:pt x="827342" y="301471"/>
                  </a:moveTo>
                  <a:lnTo>
                    <a:pt x="860555" y="301471"/>
                  </a:lnTo>
                  <a:lnTo>
                    <a:pt x="860555" y="173729"/>
                  </a:lnTo>
                  <a:cubicBezTo>
                    <a:pt x="868646" y="163935"/>
                    <a:pt x="878013" y="158400"/>
                    <a:pt x="884826" y="158400"/>
                  </a:cubicBezTo>
                  <a:cubicBezTo>
                    <a:pt x="889084" y="158400"/>
                    <a:pt x="893342" y="159252"/>
                    <a:pt x="895897" y="162658"/>
                  </a:cubicBezTo>
                  <a:cubicBezTo>
                    <a:pt x="898452" y="166490"/>
                    <a:pt x="899730" y="172026"/>
                    <a:pt x="899730" y="185226"/>
                  </a:cubicBezTo>
                  <a:lnTo>
                    <a:pt x="899730" y="301471"/>
                  </a:lnTo>
                  <a:lnTo>
                    <a:pt x="932942" y="301471"/>
                  </a:lnTo>
                  <a:lnTo>
                    <a:pt x="932942" y="169897"/>
                  </a:lnTo>
                  <a:cubicBezTo>
                    <a:pt x="932942" y="158400"/>
                    <a:pt x="931665" y="146903"/>
                    <a:pt x="924852" y="138387"/>
                  </a:cubicBezTo>
                  <a:cubicBezTo>
                    <a:pt x="918891" y="130723"/>
                    <a:pt x="909523" y="126039"/>
                    <a:pt x="897601" y="126039"/>
                  </a:cubicBezTo>
                  <a:cubicBezTo>
                    <a:pt x="882272" y="126039"/>
                    <a:pt x="866517" y="134981"/>
                    <a:pt x="858000" y="145200"/>
                  </a:cubicBezTo>
                  <a:cubicBezTo>
                    <a:pt x="857575" y="136258"/>
                    <a:pt x="854594" y="127742"/>
                    <a:pt x="853742" y="124761"/>
                  </a:cubicBezTo>
                  <a:lnTo>
                    <a:pt x="822659" y="132852"/>
                  </a:lnTo>
                  <a:cubicBezTo>
                    <a:pt x="824362" y="142219"/>
                    <a:pt x="826917" y="153716"/>
                    <a:pt x="826917" y="174581"/>
                  </a:cubicBezTo>
                  <a:lnTo>
                    <a:pt x="826917" y="301471"/>
                  </a:lnTo>
                  <a:close/>
                  <a:moveTo>
                    <a:pt x="441562" y="145200"/>
                  </a:moveTo>
                  <a:cubicBezTo>
                    <a:pt x="441136" y="136258"/>
                    <a:pt x="438155" y="127742"/>
                    <a:pt x="437304" y="124761"/>
                  </a:cubicBezTo>
                  <a:lnTo>
                    <a:pt x="406220" y="132852"/>
                  </a:lnTo>
                  <a:cubicBezTo>
                    <a:pt x="407923" y="142219"/>
                    <a:pt x="410478" y="153716"/>
                    <a:pt x="410478" y="174581"/>
                  </a:cubicBezTo>
                  <a:lnTo>
                    <a:pt x="410478" y="301045"/>
                  </a:lnTo>
                  <a:lnTo>
                    <a:pt x="443691" y="301045"/>
                  </a:lnTo>
                  <a:lnTo>
                    <a:pt x="443691" y="173303"/>
                  </a:lnTo>
                  <a:cubicBezTo>
                    <a:pt x="451781" y="163510"/>
                    <a:pt x="461149" y="157974"/>
                    <a:pt x="467962" y="157974"/>
                  </a:cubicBezTo>
                  <a:cubicBezTo>
                    <a:pt x="472220" y="157974"/>
                    <a:pt x="476478" y="158826"/>
                    <a:pt x="479033" y="162232"/>
                  </a:cubicBezTo>
                  <a:cubicBezTo>
                    <a:pt x="481587" y="166065"/>
                    <a:pt x="482865" y="171600"/>
                    <a:pt x="482865" y="184800"/>
                  </a:cubicBezTo>
                  <a:lnTo>
                    <a:pt x="482865" y="301045"/>
                  </a:lnTo>
                  <a:lnTo>
                    <a:pt x="516078" y="301045"/>
                  </a:lnTo>
                  <a:lnTo>
                    <a:pt x="516078" y="169897"/>
                  </a:lnTo>
                  <a:cubicBezTo>
                    <a:pt x="516078" y="158400"/>
                    <a:pt x="514800" y="146903"/>
                    <a:pt x="507987" y="138387"/>
                  </a:cubicBezTo>
                  <a:cubicBezTo>
                    <a:pt x="502026" y="130723"/>
                    <a:pt x="492658" y="126039"/>
                    <a:pt x="480736" y="126039"/>
                  </a:cubicBezTo>
                  <a:cubicBezTo>
                    <a:pt x="465833" y="126039"/>
                    <a:pt x="450078" y="134981"/>
                    <a:pt x="441562" y="145200"/>
                  </a:cubicBezTo>
                  <a:close/>
                  <a:moveTo>
                    <a:pt x="35342" y="70684"/>
                  </a:moveTo>
                  <a:cubicBezTo>
                    <a:pt x="54929" y="70684"/>
                    <a:pt x="70684" y="54929"/>
                    <a:pt x="70684" y="35342"/>
                  </a:cubicBezTo>
                  <a:cubicBezTo>
                    <a:pt x="70684" y="15755"/>
                    <a:pt x="54929" y="0"/>
                    <a:pt x="35342" y="0"/>
                  </a:cubicBezTo>
                  <a:cubicBezTo>
                    <a:pt x="15755" y="0"/>
                    <a:pt x="0" y="15755"/>
                    <a:pt x="0" y="35342"/>
                  </a:cubicBezTo>
                  <a:cubicBezTo>
                    <a:pt x="0" y="54929"/>
                    <a:pt x="15755" y="70684"/>
                    <a:pt x="35342" y="70684"/>
                  </a:cubicBezTo>
                  <a:close/>
                  <a:moveTo>
                    <a:pt x="198426" y="301471"/>
                  </a:moveTo>
                  <a:lnTo>
                    <a:pt x="198426" y="169897"/>
                  </a:lnTo>
                  <a:cubicBezTo>
                    <a:pt x="198426" y="158400"/>
                    <a:pt x="197148" y="146903"/>
                    <a:pt x="190336" y="138387"/>
                  </a:cubicBezTo>
                  <a:cubicBezTo>
                    <a:pt x="184374" y="130723"/>
                    <a:pt x="175007" y="126039"/>
                    <a:pt x="163084" y="126039"/>
                  </a:cubicBezTo>
                  <a:cubicBezTo>
                    <a:pt x="147755" y="126039"/>
                    <a:pt x="132000" y="134981"/>
                    <a:pt x="123484" y="145200"/>
                  </a:cubicBezTo>
                  <a:cubicBezTo>
                    <a:pt x="123058" y="136258"/>
                    <a:pt x="120077" y="127742"/>
                    <a:pt x="119226" y="124761"/>
                  </a:cubicBezTo>
                  <a:lnTo>
                    <a:pt x="88568" y="133277"/>
                  </a:lnTo>
                  <a:cubicBezTo>
                    <a:pt x="90271" y="142645"/>
                    <a:pt x="92826" y="154142"/>
                    <a:pt x="92826" y="175006"/>
                  </a:cubicBezTo>
                  <a:lnTo>
                    <a:pt x="92826" y="301471"/>
                  </a:lnTo>
                  <a:lnTo>
                    <a:pt x="126039" y="301471"/>
                  </a:lnTo>
                  <a:lnTo>
                    <a:pt x="126039" y="173729"/>
                  </a:lnTo>
                  <a:cubicBezTo>
                    <a:pt x="134129" y="163935"/>
                    <a:pt x="143497" y="158400"/>
                    <a:pt x="150310" y="158400"/>
                  </a:cubicBezTo>
                  <a:cubicBezTo>
                    <a:pt x="154568" y="158400"/>
                    <a:pt x="158826" y="159252"/>
                    <a:pt x="161381" y="162658"/>
                  </a:cubicBezTo>
                  <a:cubicBezTo>
                    <a:pt x="163936" y="166490"/>
                    <a:pt x="165213" y="172026"/>
                    <a:pt x="165213" y="185226"/>
                  </a:cubicBezTo>
                  <a:lnTo>
                    <a:pt x="165213" y="301471"/>
                  </a:lnTo>
                  <a:lnTo>
                    <a:pt x="198426" y="301471"/>
                  </a:lnTo>
                  <a:close/>
                  <a:moveTo>
                    <a:pt x="351291" y="61316"/>
                  </a:moveTo>
                  <a:cubicBezTo>
                    <a:pt x="338942" y="61316"/>
                    <a:pt x="329149" y="71110"/>
                    <a:pt x="329149" y="83458"/>
                  </a:cubicBezTo>
                  <a:cubicBezTo>
                    <a:pt x="329149" y="95806"/>
                    <a:pt x="338942" y="105600"/>
                    <a:pt x="350865" y="105600"/>
                  </a:cubicBezTo>
                  <a:cubicBezTo>
                    <a:pt x="363213" y="105600"/>
                    <a:pt x="373007" y="95806"/>
                    <a:pt x="373007" y="83458"/>
                  </a:cubicBezTo>
                  <a:cubicBezTo>
                    <a:pt x="373007" y="71110"/>
                    <a:pt x="363213" y="61316"/>
                    <a:pt x="351291" y="61316"/>
                  </a:cubicBezTo>
                  <a:close/>
                  <a:moveTo>
                    <a:pt x="19587" y="301471"/>
                  </a:moveTo>
                  <a:lnTo>
                    <a:pt x="52800" y="301471"/>
                  </a:lnTo>
                  <a:lnTo>
                    <a:pt x="52800" y="94103"/>
                  </a:lnTo>
                  <a:lnTo>
                    <a:pt x="19587" y="98361"/>
                  </a:lnTo>
                  <a:lnTo>
                    <a:pt x="19587" y="301471"/>
                  </a:lnTo>
                  <a:close/>
                  <a:moveTo>
                    <a:pt x="290826" y="81755"/>
                  </a:moveTo>
                  <a:cubicBezTo>
                    <a:pt x="296787" y="81755"/>
                    <a:pt x="302749" y="83884"/>
                    <a:pt x="306581" y="86865"/>
                  </a:cubicBezTo>
                  <a:lnTo>
                    <a:pt x="315949" y="60890"/>
                  </a:lnTo>
                  <a:cubicBezTo>
                    <a:pt x="307007" y="54503"/>
                    <a:pt x="297213" y="51523"/>
                    <a:pt x="284865" y="51523"/>
                  </a:cubicBezTo>
                  <a:cubicBezTo>
                    <a:pt x="276349" y="51523"/>
                    <a:pt x="267407" y="53652"/>
                    <a:pt x="259316" y="60039"/>
                  </a:cubicBezTo>
                  <a:cubicBezTo>
                    <a:pt x="251226" y="66852"/>
                    <a:pt x="242710" y="80477"/>
                    <a:pt x="242710" y="106026"/>
                  </a:cubicBezTo>
                  <a:cubicBezTo>
                    <a:pt x="242710" y="117097"/>
                    <a:pt x="243136" y="128594"/>
                    <a:pt x="243136" y="128594"/>
                  </a:cubicBezTo>
                  <a:lnTo>
                    <a:pt x="231639" y="128594"/>
                  </a:lnTo>
                  <a:lnTo>
                    <a:pt x="231639" y="157974"/>
                  </a:lnTo>
                  <a:lnTo>
                    <a:pt x="243136" y="157974"/>
                  </a:lnTo>
                  <a:lnTo>
                    <a:pt x="243136" y="301045"/>
                  </a:lnTo>
                  <a:lnTo>
                    <a:pt x="277200" y="301045"/>
                  </a:lnTo>
                  <a:lnTo>
                    <a:pt x="277200" y="158400"/>
                  </a:lnTo>
                  <a:lnTo>
                    <a:pt x="302323" y="158400"/>
                  </a:lnTo>
                  <a:lnTo>
                    <a:pt x="308710" y="129019"/>
                  </a:lnTo>
                  <a:lnTo>
                    <a:pt x="277626" y="129019"/>
                  </a:lnTo>
                  <a:lnTo>
                    <a:pt x="277626" y="102619"/>
                  </a:lnTo>
                  <a:cubicBezTo>
                    <a:pt x="277626" y="89845"/>
                    <a:pt x="282736" y="81755"/>
                    <a:pt x="290826" y="81755"/>
                  </a:cubicBezTo>
                  <a:close/>
                  <a:moveTo>
                    <a:pt x="334258" y="301471"/>
                  </a:moveTo>
                  <a:lnTo>
                    <a:pt x="367897" y="301471"/>
                  </a:lnTo>
                  <a:lnTo>
                    <a:pt x="367897" y="126039"/>
                  </a:lnTo>
                  <a:lnTo>
                    <a:pt x="334258" y="130297"/>
                  </a:lnTo>
                  <a:lnTo>
                    <a:pt x="334258" y="301471"/>
                  </a:lnTo>
                  <a:close/>
                </a:path>
              </a:pathLst>
            </a:custGeom>
            <a:solidFill>
              <a:schemeClr val="bg1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BC56F93-8A43-59C7-177B-978B93271C93}"/>
                </a:ext>
              </a:extLst>
            </p:cNvPr>
            <p:cNvSpPr/>
            <p:nvPr/>
          </p:nvSpPr>
          <p:spPr>
            <a:xfrm>
              <a:off x="10659752" y="193689"/>
              <a:ext cx="1206736" cy="528057"/>
            </a:xfrm>
            <a:custGeom>
              <a:avLst/>
              <a:gdLst>
                <a:gd name="connsiteX0" fmla="*/ 1024065 w 1206736"/>
                <a:gd name="connsiteY0" fmla="*/ 444872 h 528057"/>
                <a:gd name="connsiteX1" fmla="*/ 641265 w 1206736"/>
                <a:gd name="connsiteY1" fmla="*/ 492562 h 528057"/>
                <a:gd name="connsiteX2" fmla="*/ 67703 w 1206736"/>
                <a:gd name="connsiteY2" fmla="*/ 261349 h 528057"/>
                <a:gd name="connsiteX3" fmla="*/ 165639 w 1206736"/>
                <a:gd name="connsiteY3" fmla="*/ 122962 h 528057"/>
                <a:gd name="connsiteX4" fmla="*/ 146478 w 1206736"/>
                <a:gd name="connsiteY4" fmla="*/ 85491 h 528057"/>
                <a:gd name="connsiteX5" fmla="*/ 0 w 1206736"/>
                <a:gd name="connsiteY5" fmla="*/ 265181 h 528057"/>
                <a:gd name="connsiteX6" fmla="*/ 644671 w 1206736"/>
                <a:gd name="connsiteY6" fmla="*/ 527904 h 528057"/>
                <a:gd name="connsiteX7" fmla="*/ 992130 w 1206736"/>
                <a:gd name="connsiteY7" fmla="*/ 473826 h 528057"/>
                <a:gd name="connsiteX8" fmla="*/ 1206736 w 1206736"/>
                <a:gd name="connsiteY8" fmla="*/ 353749 h 528057"/>
                <a:gd name="connsiteX9" fmla="*/ 1024065 w 1206736"/>
                <a:gd name="connsiteY9" fmla="*/ 444872 h 528057"/>
                <a:gd name="connsiteX10" fmla="*/ 309136 w 1206736"/>
                <a:gd name="connsiteY10" fmla="*/ 58239 h 528057"/>
                <a:gd name="connsiteX11" fmla="*/ 363639 w 1206736"/>
                <a:gd name="connsiteY11" fmla="*/ 40781 h 528057"/>
                <a:gd name="connsiteX12" fmla="*/ 645097 w 1206736"/>
                <a:gd name="connsiteY12" fmla="*/ 2459 h 528057"/>
                <a:gd name="connsiteX13" fmla="*/ 356826 w 1206736"/>
                <a:gd name="connsiteY13" fmla="*/ 17788 h 528057"/>
                <a:gd name="connsiteX14" fmla="*/ 298490 w 1206736"/>
                <a:gd name="connsiteY14" fmla="*/ 30136 h 528057"/>
                <a:gd name="connsiteX15" fmla="*/ 275071 w 1206736"/>
                <a:gd name="connsiteY15" fmla="*/ 36523 h 528057"/>
                <a:gd name="connsiteX16" fmla="*/ 253781 w 1206736"/>
                <a:gd name="connsiteY16" fmla="*/ 42484 h 528057"/>
                <a:gd name="connsiteX17" fmla="*/ 228232 w 1206736"/>
                <a:gd name="connsiteY17" fmla="*/ 51001 h 528057"/>
                <a:gd name="connsiteX18" fmla="*/ 242284 w 1206736"/>
                <a:gd name="connsiteY18" fmla="*/ 83362 h 528057"/>
                <a:gd name="connsiteX19" fmla="*/ 309136 w 1206736"/>
                <a:gd name="connsiteY19" fmla="*/ 58239 h 52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6736" h="528057">
                  <a:moveTo>
                    <a:pt x="1024065" y="444872"/>
                  </a:moveTo>
                  <a:cubicBezTo>
                    <a:pt x="911652" y="478085"/>
                    <a:pt x="774968" y="492562"/>
                    <a:pt x="641265" y="492562"/>
                  </a:cubicBezTo>
                  <a:cubicBezTo>
                    <a:pt x="301897" y="492562"/>
                    <a:pt x="83032" y="392923"/>
                    <a:pt x="67703" y="261349"/>
                  </a:cubicBezTo>
                  <a:cubicBezTo>
                    <a:pt x="62168" y="211955"/>
                    <a:pt x="100916" y="163839"/>
                    <a:pt x="165639" y="122962"/>
                  </a:cubicBezTo>
                  <a:cubicBezTo>
                    <a:pt x="154142" y="114446"/>
                    <a:pt x="146903" y="100820"/>
                    <a:pt x="146478" y="85491"/>
                  </a:cubicBezTo>
                  <a:cubicBezTo>
                    <a:pt x="52800" y="134885"/>
                    <a:pt x="0" y="199607"/>
                    <a:pt x="0" y="265181"/>
                  </a:cubicBezTo>
                  <a:cubicBezTo>
                    <a:pt x="0" y="410381"/>
                    <a:pt x="259316" y="533014"/>
                    <a:pt x="644671" y="527904"/>
                  </a:cubicBezTo>
                  <a:cubicBezTo>
                    <a:pt x="778800" y="526201"/>
                    <a:pt x="890788" y="507039"/>
                    <a:pt x="992130" y="473826"/>
                  </a:cubicBezTo>
                  <a:cubicBezTo>
                    <a:pt x="1112633" y="434652"/>
                    <a:pt x="1188427" y="378446"/>
                    <a:pt x="1206736" y="353749"/>
                  </a:cubicBezTo>
                  <a:cubicBezTo>
                    <a:pt x="1185020" y="373336"/>
                    <a:pt x="1133498" y="412510"/>
                    <a:pt x="1024065" y="444872"/>
                  </a:cubicBezTo>
                  <a:close/>
                  <a:moveTo>
                    <a:pt x="309136" y="58239"/>
                  </a:moveTo>
                  <a:cubicBezTo>
                    <a:pt x="331703" y="50575"/>
                    <a:pt x="363639" y="40781"/>
                    <a:pt x="363639" y="40781"/>
                  </a:cubicBezTo>
                  <a:cubicBezTo>
                    <a:pt x="453484" y="16084"/>
                    <a:pt x="552697" y="1607"/>
                    <a:pt x="645097" y="2459"/>
                  </a:cubicBezTo>
                  <a:cubicBezTo>
                    <a:pt x="538645" y="-3928"/>
                    <a:pt x="441562" y="2459"/>
                    <a:pt x="356826" y="17788"/>
                  </a:cubicBezTo>
                  <a:cubicBezTo>
                    <a:pt x="356826" y="17788"/>
                    <a:pt x="328723" y="22472"/>
                    <a:pt x="298490" y="30136"/>
                  </a:cubicBezTo>
                  <a:cubicBezTo>
                    <a:pt x="298490" y="30136"/>
                    <a:pt x="284013" y="33968"/>
                    <a:pt x="275071" y="36523"/>
                  </a:cubicBezTo>
                  <a:cubicBezTo>
                    <a:pt x="266129" y="39078"/>
                    <a:pt x="253781" y="42484"/>
                    <a:pt x="253781" y="42484"/>
                  </a:cubicBezTo>
                  <a:cubicBezTo>
                    <a:pt x="245265" y="45039"/>
                    <a:pt x="236749" y="48020"/>
                    <a:pt x="228232" y="51001"/>
                  </a:cubicBezTo>
                  <a:cubicBezTo>
                    <a:pt x="236749" y="59517"/>
                    <a:pt x="241858" y="70588"/>
                    <a:pt x="242284" y="83362"/>
                  </a:cubicBezTo>
                  <a:cubicBezTo>
                    <a:pt x="257187" y="76549"/>
                    <a:pt x="285716" y="66330"/>
                    <a:pt x="309136" y="58239"/>
                  </a:cubicBezTo>
                  <a:close/>
                </a:path>
              </a:pathLst>
            </a:custGeom>
            <a:solidFill>
              <a:schemeClr val="bg1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1 Sep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572889C-3818-4F2A-A1CC-5160B713F2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6697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Folie" r:id="rId26" imgW="344" imgH="345" progId="TCLayout.ActiveDocument.1">
                  <p:embed/>
                </p:oleObj>
              </mc:Choice>
              <mc:Fallback>
                <p:oleObj name="think-cell Folie" r:id="rId26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4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2" name="LOGO">
            <a:extLst>
              <a:ext uri="{FF2B5EF4-FFF2-40B4-BE49-F238E27FC236}">
                <a16:creationId xmlns:a16="http://schemas.microsoft.com/office/drawing/2014/main" id="{09F6C2B3-52AF-4C87-8DA7-D88B6BD510D6}"/>
              </a:ext>
            </a:extLst>
          </p:cNvPr>
          <p:cNvGrpSpPr/>
          <p:nvPr/>
        </p:nvGrpSpPr>
        <p:grpSpPr>
          <a:xfrm>
            <a:off x="10659752" y="193689"/>
            <a:ext cx="1206736" cy="528057"/>
            <a:chOff x="10659752" y="193689"/>
            <a:chExt cx="1206736" cy="528057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481A94B-AD7D-4E10-A0F1-8388E7B440B1}"/>
                </a:ext>
              </a:extLst>
            </p:cNvPr>
            <p:cNvSpPr/>
            <p:nvPr/>
          </p:nvSpPr>
          <p:spPr>
            <a:xfrm>
              <a:off x="10819003" y="243412"/>
              <a:ext cx="932942" cy="305729"/>
            </a:xfrm>
            <a:custGeom>
              <a:avLst/>
              <a:gdLst>
                <a:gd name="connsiteX0" fmla="*/ 740052 w 932942"/>
                <a:gd name="connsiteY0" fmla="*/ 305729 h 305729"/>
                <a:gd name="connsiteX1" fmla="*/ 799239 w 932942"/>
                <a:gd name="connsiteY1" fmla="*/ 214181 h 305729"/>
                <a:gd name="connsiteX2" fmla="*/ 740052 w 932942"/>
                <a:gd name="connsiteY2" fmla="*/ 124761 h 305729"/>
                <a:gd name="connsiteX3" fmla="*/ 681717 w 932942"/>
                <a:gd name="connsiteY3" fmla="*/ 215032 h 305729"/>
                <a:gd name="connsiteX4" fmla="*/ 740052 w 932942"/>
                <a:gd name="connsiteY4" fmla="*/ 305729 h 305729"/>
                <a:gd name="connsiteX5" fmla="*/ 717910 w 932942"/>
                <a:gd name="connsiteY5" fmla="*/ 213755 h 305729"/>
                <a:gd name="connsiteX6" fmla="*/ 740052 w 932942"/>
                <a:gd name="connsiteY6" fmla="*/ 155419 h 305729"/>
                <a:gd name="connsiteX7" fmla="*/ 763046 w 932942"/>
                <a:gd name="connsiteY7" fmla="*/ 214606 h 305729"/>
                <a:gd name="connsiteX8" fmla="*/ 740904 w 932942"/>
                <a:gd name="connsiteY8" fmla="*/ 275923 h 305729"/>
                <a:gd name="connsiteX9" fmla="*/ 717910 w 932942"/>
                <a:gd name="connsiteY9" fmla="*/ 213755 h 305729"/>
                <a:gd name="connsiteX10" fmla="*/ 608904 w 932942"/>
                <a:gd name="connsiteY10" fmla="*/ 305729 h 305729"/>
                <a:gd name="connsiteX11" fmla="*/ 657871 w 932942"/>
                <a:gd name="connsiteY11" fmla="*/ 282735 h 305729"/>
                <a:gd name="connsiteX12" fmla="*/ 644671 w 932942"/>
                <a:gd name="connsiteY12" fmla="*/ 258039 h 305729"/>
                <a:gd name="connsiteX13" fmla="*/ 611884 w 932942"/>
                <a:gd name="connsiteY13" fmla="*/ 275071 h 305729"/>
                <a:gd name="connsiteX14" fmla="*/ 588039 w 932942"/>
                <a:gd name="connsiteY14" fmla="*/ 258890 h 305729"/>
                <a:gd name="connsiteX15" fmla="*/ 582929 w 932942"/>
                <a:gd name="connsiteY15" fmla="*/ 228658 h 305729"/>
                <a:gd name="connsiteX16" fmla="*/ 582929 w 932942"/>
                <a:gd name="connsiteY16" fmla="*/ 225252 h 305729"/>
                <a:gd name="connsiteX17" fmla="*/ 659575 w 932942"/>
                <a:gd name="connsiteY17" fmla="*/ 225252 h 305729"/>
                <a:gd name="connsiteX18" fmla="*/ 659575 w 932942"/>
                <a:gd name="connsiteY18" fmla="*/ 217587 h 305729"/>
                <a:gd name="connsiteX19" fmla="*/ 642968 w 932942"/>
                <a:gd name="connsiteY19" fmla="*/ 143071 h 305729"/>
                <a:gd name="connsiteX20" fmla="*/ 604645 w 932942"/>
                <a:gd name="connsiteY20" fmla="*/ 124761 h 305729"/>
                <a:gd name="connsiteX21" fmla="*/ 563342 w 932942"/>
                <a:gd name="connsiteY21" fmla="*/ 147329 h 305729"/>
                <a:gd name="connsiteX22" fmla="*/ 547587 w 932942"/>
                <a:gd name="connsiteY22" fmla="*/ 215032 h 305729"/>
                <a:gd name="connsiteX23" fmla="*/ 608904 w 932942"/>
                <a:gd name="connsiteY23" fmla="*/ 305729 h 305729"/>
                <a:gd name="connsiteX24" fmla="*/ 605071 w 932942"/>
                <a:gd name="connsiteY24" fmla="*/ 152865 h 305729"/>
                <a:gd name="connsiteX25" fmla="*/ 622104 w 932942"/>
                <a:gd name="connsiteY25" fmla="*/ 165213 h 305729"/>
                <a:gd name="connsiteX26" fmla="*/ 625936 w 932942"/>
                <a:gd name="connsiteY26" fmla="*/ 197148 h 305729"/>
                <a:gd name="connsiteX27" fmla="*/ 582929 w 932942"/>
                <a:gd name="connsiteY27" fmla="*/ 197148 h 305729"/>
                <a:gd name="connsiteX28" fmla="*/ 605071 w 932942"/>
                <a:gd name="connsiteY28" fmla="*/ 152865 h 305729"/>
                <a:gd name="connsiteX29" fmla="*/ 827342 w 932942"/>
                <a:gd name="connsiteY29" fmla="*/ 301471 h 305729"/>
                <a:gd name="connsiteX30" fmla="*/ 860555 w 932942"/>
                <a:gd name="connsiteY30" fmla="*/ 301471 h 305729"/>
                <a:gd name="connsiteX31" fmla="*/ 860555 w 932942"/>
                <a:gd name="connsiteY31" fmla="*/ 173729 h 305729"/>
                <a:gd name="connsiteX32" fmla="*/ 884826 w 932942"/>
                <a:gd name="connsiteY32" fmla="*/ 158400 h 305729"/>
                <a:gd name="connsiteX33" fmla="*/ 895897 w 932942"/>
                <a:gd name="connsiteY33" fmla="*/ 162658 h 305729"/>
                <a:gd name="connsiteX34" fmla="*/ 899730 w 932942"/>
                <a:gd name="connsiteY34" fmla="*/ 185226 h 305729"/>
                <a:gd name="connsiteX35" fmla="*/ 899730 w 932942"/>
                <a:gd name="connsiteY35" fmla="*/ 301471 h 305729"/>
                <a:gd name="connsiteX36" fmla="*/ 932942 w 932942"/>
                <a:gd name="connsiteY36" fmla="*/ 301471 h 305729"/>
                <a:gd name="connsiteX37" fmla="*/ 932942 w 932942"/>
                <a:gd name="connsiteY37" fmla="*/ 169897 h 305729"/>
                <a:gd name="connsiteX38" fmla="*/ 924852 w 932942"/>
                <a:gd name="connsiteY38" fmla="*/ 138387 h 305729"/>
                <a:gd name="connsiteX39" fmla="*/ 897601 w 932942"/>
                <a:gd name="connsiteY39" fmla="*/ 126039 h 305729"/>
                <a:gd name="connsiteX40" fmla="*/ 858000 w 932942"/>
                <a:gd name="connsiteY40" fmla="*/ 145200 h 305729"/>
                <a:gd name="connsiteX41" fmla="*/ 853742 w 932942"/>
                <a:gd name="connsiteY41" fmla="*/ 124761 h 305729"/>
                <a:gd name="connsiteX42" fmla="*/ 822659 w 932942"/>
                <a:gd name="connsiteY42" fmla="*/ 132852 h 305729"/>
                <a:gd name="connsiteX43" fmla="*/ 826917 w 932942"/>
                <a:gd name="connsiteY43" fmla="*/ 174581 h 305729"/>
                <a:gd name="connsiteX44" fmla="*/ 826917 w 932942"/>
                <a:gd name="connsiteY44" fmla="*/ 301471 h 305729"/>
                <a:gd name="connsiteX45" fmla="*/ 441562 w 932942"/>
                <a:gd name="connsiteY45" fmla="*/ 145200 h 305729"/>
                <a:gd name="connsiteX46" fmla="*/ 437304 w 932942"/>
                <a:gd name="connsiteY46" fmla="*/ 124761 h 305729"/>
                <a:gd name="connsiteX47" fmla="*/ 406220 w 932942"/>
                <a:gd name="connsiteY47" fmla="*/ 132852 h 305729"/>
                <a:gd name="connsiteX48" fmla="*/ 410478 w 932942"/>
                <a:gd name="connsiteY48" fmla="*/ 174581 h 305729"/>
                <a:gd name="connsiteX49" fmla="*/ 410478 w 932942"/>
                <a:gd name="connsiteY49" fmla="*/ 301045 h 305729"/>
                <a:gd name="connsiteX50" fmla="*/ 443691 w 932942"/>
                <a:gd name="connsiteY50" fmla="*/ 301045 h 305729"/>
                <a:gd name="connsiteX51" fmla="*/ 443691 w 932942"/>
                <a:gd name="connsiteY51" fmla="*/ 173303 h 305729"/>
                <a:gd name="connsiteX52" fmla="*/ 467962 w 932942"/>
                <a:gd name="connsiteY52" fmla="*/ 157974 h 305729"/>
                <a:gd name="connsiteX53" fmla="*/ 479033 w 932942"/>
                <a:gd name="connsiteY53" fmla="*/ 162232 h 305729"/>
                <a:gd name="connsiteX54" fmla="*/ 482865 w 932942"/>
                <a:gd name="connsiteY54" fmla="*/ 184800 h 305729"/>
                <a:gd name="connsiteX55" fmla="*/ 482865 w 932942"/>
                <a:gd name="connsiteY55" fmla="*/ 301045 h 305729"/>
                <a:gd name="connsiteX56" fmla="*/ 516078 w 932942"/>
                <a:gd name="connsiteY56" fmla="*/ 301045 h 305729"/>
                <a:gd name="connsiteX57" fmla="*/ 516078 w 932942"/>
                <a:gd name="connsiteY57" fmla="*/ 169897 h 305729"/>
                <a:gd name="connsiteX58" fmla="*/ 507987 w 932942"/>
                <a:gd name="connsiteY58" fmla="*/ 138387 h 305729"/>
                <a:gd name="connsiteX59" fmla="*/ 480736 w 932942"/>
                <a:gd name="connsiteY59" fmla="*/ 126039 h 305729"/>
                <a:gd name="connsiteX60" fmla="*/ 441562 w 932942"/>
                <a:gd name="connsiteY60" fmla="*/ 145200 h 305729"/>
                <a:gd name="connsiteX61" fmla="*/ 35342 w 932942"/>
                <a:gd name="connsiteY61" fmla="*/ 70684 h 305729"/>
                <a:gd name="connsiteX62" fmla="*/ 70684 w 932942"/>
                <a:gd name="connsiteY62" fmla="*/ 35342 h 305729"/>
                <a:gd name="connsiteX63" fmla="*/ 35342 w 932942"/>
                <a:gd name="connsiteY63" fmla="*/ 0 h 305729"/>
                <a:gd name="connsiteX64" fmla="*/ 0 w 932942"/>
                <a:gd name="connsiteY64" fmla="*/ 35342 h 305729"/>
                <a:gd name="connsiteX65" fmla="*/ 35342 w 932942"/>
                <a:gd name="connsiteY65" fmla="*/ 70684 h 305729"/>
                <a:gd name="connsiteX66" fmla="*/ 198426 w 932942"/>
                <a:gd name="connsiteY66" fmla="*/ 301471 h 305729"/>
                <a:gd name="connsiteX67" fmla="*/ 198426 w 932942"/>
                <a:gd name="connsiteY67" fmla="*/ 169897 h 305729"/>
                <a:gd name="connsiteX68" fmla="*/ 190336 w 932942"/>
                <a:gd name="connsiteY68" fmla="*/ 138387 h 305729"/>
                <a:gd name="connsiteX69" fmla="*/ 163084 w 932942"/>
                <a:gd name="connsiteY69" fmla="*/ 126039 h 305729"/>
                <a:gd name="connsiteX70" fmla="*/ 123484 w 932942"/>
                <a:gd name="connsiteY70" fmla="*/ 145200 h 305729"/>
                <a:gd name="connsiteX71" fmla="*/ 119226 w 932942"/>
                <a:gd name="connsiteY71" fmla="*/ 124761 h 305729"/>
                <a:gd name="connsiteX72" fmla="*/ 88568 w 932942"/>
                <a:gd name="connsiteY72" fmla="*/ 133277 h 305729"/>
                <a:gd name="connsiteX73" fmla="*/ 92826 w 932942"/>
                <a:gd name="connsiteY73" fmla="*/ 175006 h 305729"/>
                <a:gd name="connsiteX74" fmla="*/ 92826 w 932942"/>
                <a:gd name="connsiteY74" fmla="*/ 301471 h 305729"/>
                <a:gd name="connsiteX75" fmla="*/ 126039 w 932942"/>
                <a:gd name="connsiteY75" fmla="*/ 301471 h 305729"/>
                <a:gd name="connsiteX76" fmla="*/ 126039 w 932942"/>
                <a:gd name="connsiteY76" fmla="*/ 173729 h 305729"/>
                <a:gd name="connsiteX77" fmla="*/ 150310 w 932942"/>
                <a:gd name="connsiteY77" fmla="*/ 158400 h 305729"/>
                <a:gd name="connsiteX78" fmla="*/ 161381 w 932942"/>
                <a:gd name="connsiteY78" fmla="*/ 162658 h 305729"/>
                <a:gd name="connsiteX79" fmla="*/ 165213 w 932942"/>
                <a:gd name="connsiteY79" fmla="*/ 185226 h 305729"/>
                <a:gd name="connsiteX80" fmla="*/ 165213 w 932942"/>
                <a:gd name="connsiteY80" fmla="*/ 301471 h 305729"/>
                <a:gd name="connsiteX81" fmla="*/ 198426 w 932942"/>
                <a:gd name="connsiteY81" fmla="*/ 301471 h 305729"/>
                <a:gd name="connsiteX82" fmla="*/ 351291 w 932942"/>
                <a:gd name="connsiteY82" fmla="*/ 61316 h 305729"/>
                <a:gd name="connsiteX83" fmla="*/ 329149 w 932942"/>
                <a:gd name="connsiteY83" fmla="*/ 83458 h 305729"/>
                <a:gd name="connsiteX84" fmla="*/ 350865 w 932942"/>
                <a:gd name="connsiteY84" fmla="*/ 105600 h 305729"/>
                <a:gd name="connsiteX85" fmla="*/ 373007 w 932942"/>
                <a:gd name="connsiteY85" fmla="*/ 83458 h 305729"/>
                <a:gd name="connsiteX86" fmla="*/ 351291 w 932942"/>
                <a:gd name="connsiteY86" fmla="*/ 61316 h 305729"/>
                <a:gd name="connsiteX87" fmla="*/ 19587 w 932942"/>
                <a:gd name="connsiteY87" fmla="*/ 301471 h 305729"/>
                <a:gd name="connsiteX88" fmla="*/ 52800 w 932942"/>
                <a:gd name="connsiteY88" fmla="*/ 301471 h 305729"/>
                <a:gd name="connsiteX89" fmla="*/ 52800 w 932942"/>
                <a:gd name="connsiteY89" fmla="*/ 94103 h 305729"/>
                <a:gd name="connsiteX90" fmla="*/ 19587 w 932942"/>
                <a:gd name="connsiteY90" fmla="*/ 98361 h 305729"/>
                <a:gd name="connsiteX91" fmla="*/ 19587 w 932942"/>
                <a:gd name="connsiteY91" fmla="*/ 301471 h 305729"/>
                <a:gd name="connsiteX92" fmla="*/ 290826 w 932942"/>
                <a:gd name="connsiteY92" fmla="*/ 81755 h 305729"/>
                <a:gd name="connsiteX93" fmla="*/ 306581 w 932942"/>
                <a:gd name="connsiteY93" fmla="*/ 86865 h 305729"/>
                <a:gd name="connsiteX94" fmla="*/ 315949 w 932942"/>
                <a:gd name="connsiteY94" fmla="*/ 60890 h 305729"/>
                <a:gd name="connsiteX95" fmla="*/ 284865 w 932942"/>
                <a:gd name="connsiteY95" fmla="*/ 51523 h 305729"/>
                <a:gd name="connsiteX96" fmla="*/ 259316 w 932942"/>
                <a:gd name="connsiteY96" fmla="*/ 60039 h 305729"/>
                <a:gd name="connsiteX97" fmla="*/ 242710 w 932942"/>
                <a:gd name="connsiteY97" fmla="*/ 106026 h 305729"/>
                <a:gd name="connsiteX98" fmla="*/ 243136 w 932942"/>
                <a:gd name="connsiteY98" fmla="*/ 128594 h 305729"/>
                <a:gd name="connsiteX99" fmla="*/ 231639 w 932942"/>
                <a:gd name="connsiteY99" fmla="*/ 128594 h 305729"/>
                <a:gd name="connsiteX100" fmla="*/ 231639 w 932942"/>
                <a:gd name="connsiteY100" fmla="*/ 157974 h 305729"/>
                <a:gd name="connsiteX101" fmla="*/ 243136 w 932942"/>
                <a:gd name="connsiteY101" fmla="*/ 157974 h 305729"/>
                <a:gd name="connsiteX102" fmla="*/ 243136 w 932942"/>
                <a:gd name="connsiteY102" fmla="*/ 301045 h 305729"/>
                <a:gd name="connsiteX103" fmla="*/ 277200 w 932942"/>
                <a:gd name="connsiteY103" fmla="*/ 301045 h 305729"/>
                <a:gd name="connsiteX104" fmla="*/ 277200 w 932942"/>
                <a:gd name="connsiteY104" fmla="*/ 158400 h 305729"/>
                <a:gd name="connsiteX105" fmla="*/ 302323 w 932942"/>
                <a:gd name="connsiteY105" fmla="*/ 158400 h 305729"/>
                <a:gd name="connsiteX106" fmla="*/ 308710 w 932942"/>
                <a:gd name="connsiteY106" fmla="*/ 129019 h 305729"/>
                <a:gd name="connsiteX107" fmla="*/ 277626 w 932942"/>
                <a:gd name="connsiteY107" fmla="*/ 129019 h 305729"/>
                <a:gd name="connsiteX108" fmla="*/ 277626 w 932942"/>
                <a:gd name="connsiteY108" fmla="*/ 102619 h 305729"/>
                <a:gd name="connsiteX109" fmla="*/ 290826 w 932942"/>
                <a:gd name="connsiteY109" fmla="*/ 81755 h 305729"/>
                <a:gd name="connsiteX110" fmla="*/ 334258 w 932942"/>
                <a:gd name="connsiteY110" fmla="*/ 301471 h 305729"/>
                <a:gd name="connsiteX111" fmla="*/ 367897 w 932942"/>
                <a:gd name="connsiteY111" fmla="*/ 301471 h 305729"/>
                <a:gd name="connsiteX112" fmla="*/ 367897 w 932942"/>
                <a:gd name="connsiteY112" fmla="*/ 126039 h 305729"/>
                <a:gd name="connsiteX113" fmla="*/ 334258 w 932942"/>
                <a:gd name="connsiteY113" fmla="*/ 130297 h 305729"/>
                <a:gd name="connsiteX114" fmla="*/ 334258 w 932942"/>
                <a:gd name="connsiteY114" fmla="*/ 301471 h 3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932942" h="305729">
                  <a:moveTo>
                    <a:pt x="740052" y="305729"/>
                  </a:moveTo>
                  <a:cubicBezTo>
                    <a:pt x="785188" y="305729"/>
                    <a:pt x="799239" y="258039"/>
                    <a:pt x="799239" y="214181"/>
                  </a:cubicBezTo>
                  <a:cubicBezTo>
                    <a:pt x="799239" y="155419"/>
                    <a:pt x="774542" y="124761"/>
                    <a:pt x="740052" y="124761"/>
                  </a:cubicBezTo>
                  <a:cubicBezTo>
                    <a:pt x="696620" y="124761"/>
                    <a:pt x="681291" y="172452"/>
                    <a:pt x="681717" y="215032"/>
                  </a:cubicBezTo>
                  <a:cubicBezTo>
                    <a:pt x="682142" y="257187"/>
                    <a:pt x="694065" y="305729"/>
                    <a:pt x="740052" y="305729"/>
                  </a:cubicBezTo>
                  <a:close/>
                  <a:moveTo>
                    <a:pt x="717910" y="213755"/>
                  </a:moveTo>
                  <a:cubicBezTo>
                    <a:pt x="717910" y="196297"/>
                    <a:pt x="717910" y="155419"/>
                    <a:pt x="740052" y="155419"/>
                  </a:cubicBezTo>
                  <a:cubicBezTo>
                    <a:pt x="763897" y="155419"/>
                    <a:pt x="763046" y="195871"/>
                    <a:pt x="763046" y="214606"/>
                  </a:cubicBezTo>
                  <a:cubicBezTo>
                    <a:pt x="763046" y="232490"/>
                    <a:pt x="763046" y="275923"/>
                    <a:pt x="740904" y="275923"/>
                  </a:cubicBezTo>
                  <a:cubicBezTo>
                    <a:pt x="717059" y="275497"/>
                    <a:pt x="717910" y="232065"/>
                    <a:pt x="717910" y="213755"/>
                  </a:cubicBezTo>
                  <a:close/>
                  <a:moveTo>
                    <a:pt x="608904" y="305729"/>
                  </a:moveTo>
                  <a:cubicBezTo>
                    <a:pt x="627213" y="305729"/>
                    <a:pt x="642968" y="298490"/>
                    <a:pt x="657871" y="282735"/>
                  </a:cubicBezTo>
                  <a:lnTo>
                    <a:pt x="644671" y="258039"/>
                  </a:lnTo>
                  <a:cubicBezTo>
                    <a:pt x="634452" y="269110"/>
                    <a:pt x="624233" y="275071"/>
                    <a:pt x="611884" y="275071"/>
                  </a:cubicBezTo>
                  <a:cubicBezTo>
                    <a:pt x="601665" y="275071"/>
                    <a:pt x="593149" y="269110"/>
                    <a:pt x="588039" y="258890"/>
                  </a:cubicBezTo>
                  <a:cubicBezTo>
                    <a:pt x="583781" y="249948"/>
                    <a:pt x="582929" y="239729"/>
                    <a:pt x="582929" y="228658"/>
                  </a:cubicBezTo>
                  <a:lnTo>
                    <a:pt x="582929" y="225252"/>
                  </a:lnTo>
                  <a:lnTo>
                    <a:pt x="659575" y="225252"/>
                  </a:lnTo>
                  <a:lnTo>
                    <a:pt x="659575" y="217587"/>
                  </a:lnTo>
                  <a:cubicBezTo>
                    <a:pt x="659575" y="179690"/>
                    <a:pt x="654891" y="158826"/>
                    <a:pt x="642968" y="143071"/>
                  </a:cubicBezTo>
                  <a:cubicBezTo>
                    <a:pt x="634026" y="131148"/>
                    <a:pt x="620826" y="124761"/>
                    <a:pt x="604645" y="124761"/>
                  </a:cubicBezTo>
                  <a:cubicBezTo>
                    <a:pt x="587613" y="124761"/>
                    <a:pt x="573562" y="132426"/>
                    <a:pt x="563342" y="147329"/>
                  </a:cubicBezTo>
                  <a:cubicBezTo>
                    <a:pt x="552271" y="163510"/>
                    <a:pt x="547587" y="185226"/>
                    <a:pt x="547587" y="215032"/>
                  </a:cubicBezTo>
                  <a:cubicBezTo>
                    <a:pt x="547162" y="272090"/>
                    <a:pt x="569729" y="305729"/>
                    <a:pt x="608904" y="305729"/>
                  </a:cubicBezTo>
                  <a:close/>
                  <a:moveTo>
                    <a:pt x="605071" y="152865"/>
                  </a:moveTo>
                  <a:cubicBezTo>
                    <a:pt x="613587" y="152865"/>
                    <a:pt x="618697" y="157548"/>
                    <a:pt x="622104" y="165213"/>
                  </a:cubicBezTo>
                  <a:cubicBezTo>
                    <a:pt x="624658" y="172026"/>
                    <a:pt x="625936" y="183523"/>
                    <a:pt x="625936" y="197148"/>
                  </a:cubicBezTo>
                  <a:lnTo>
                    <a:pt x="582929" y="197148"/>
                  </a:lnTo>
                  <a:cubicBezTo>
                    <a:pt x="583355" y="166916"/>
                    <a:pt x="589742" y="152865"/>
                    <a:pt x="605071" y="152865"/>
                  </a:cubicBezTo>
                  <a:close/>
                  <a:moveTo>
                    <a:pt x="827342" y="301471"/>
                  </a:moveTo>
                  <a:lnTo>
                    <a:pt x="860555" y="301471"/>
                  </a:lnTo>
                  <a:lnTo>
                    <a:pt x="860555" y="173729"/>
                  </a:lnTo>
                  <a:cubicBezTo>
                    <a:pt x="868646" y="163935"/>
                    <a:pt x="878013" y="158400"/>
                    <a:pt x="884826" y="158400"/>
                  </a:cubicBezTo>
                  <a:cubicBezTo>
                    <a:pt x="889084" y="158400"/>
                    <a:pt x="893342" y="159252"/>
                    <a:pt x="895897" y="162658"/>
                  </a:cubicBezTo>
                  <a:cubicBezTo>
                    <a:pt x="898452" y="166490"/>
                    <a:pt x="899730" y="172026"/>
                    <a:pt x="899730" y="185226"/>
                  </a:cubicBezTo>
                  <a:lnTo>
                    <a:pt x="899730" y="301471"/>
                  </a:lnTo>
                  <a:lnTo>
                    <a:pt x="932942" y="301471"/>
                  </a:lnTo>
                  <a:lnTo>
                    <a:pt x="932942" y="169897"/>
                  </a:lnTo>
                  <a:cubicBezTo>
                    <a:pt x="932942" y="158400"/>
                    <a:pt x="931665" y="146903"/>
                    <a:pt x="924852" y="138387"/>
                  </a:cubicBezTo>
                  <a:cubicBezTo>
                    <a:pt x="918891" y="130723"/>
                    <a:pt x="909523" y="126039"/>
                    <a:pt x="897601" y="126039"/>
                  </a:cubicBezTo>
                  <a:cubicBezTo>
                    <a:pt x="882272" y="126039"/>
                    <a:pt x="866517" y="134981"/>
                    <a:pt x="858000" y="145200"/>
                  </a:cubicBezTo>
                  <a:cubicBezTo>
                    <a:pt x="857575" y="136258"/>
                    <a:pt x="854594" y="127742"/>
                    <a:pt x="853742" y="124761"/>
                  </a:cubicBezTo>
                  <a:lnTo>
                    <a:pt x="822659" y="132852"/>
                  </a:lnTo>
                  <a:cubicBezTo>
                    <a:pt x="824362" y="142219"/>
                    <a:pt x="826917" y="153716"/>
                    <a:pt x="826917" y="174581"/>
                  </a:cubicBezTo>
                  <a:lnTo>
                    <a:pt x="826917" y="301471"/>
                  </a:lnTo>
                  <a:close/>
                  <a:moveTo>
                    <a:pt x="441562" y="145200"/>
                  </a:moveTo>
                  <a:cubicBezTo>
                    <a:pt x="441136" y="136258"/>
                    <a:pt x="438155" y="127742"/>
                    <a:pt x="437304" y="124761"/>
                  </a:cubicBezTo>
                  <a:lnTo>
                    <a:pt x="406220" y="132852"/>
                  </a:lnTo>
                  <a:cubicBezTo>
                    <a:pt x="407923" y="142219"/>
                    <a:pt x="410478" y="153716"/>
                    <a:pt x="410478" y="174581"/>
                  </a:cubicBezTo>
                  <a:lnTo>
                    <a:pt x="410478" y="301045"/>
                  </a:lnTo>
                  <a:lnTo>
                    <a:pt x="443691" y="301045"/>
                  </a:lnTo>
                  <a:lnTo>
                    <a:pt x="443691" y="173303"/>
                  </a:lnTo>
                  <a:cubicBezTo>
                    <a:pt x="451781" y="163510"/>
                    <a:pt x="461149" y="157974"/>
                    <a:pt x="467962" y="157974"/>
                  </a:cubicBezTo>
                  <a:cubicBezTo>
                    <a:pt x="472220" y="157974"/>
                    <a:pt x="476478" y="158826"/>
                    <a:pt x="479033" y="162232"/>
                  </a:cubicBezTo>
                  <a:cubicBezTo>
                    <a:pt x="481587" y="166065"/>
                    <a:pt x="482865" y="171600"/>
                    <a:pt x="482865" y="184800"/>
                  </a:cubicBezTo>
                  <a:lnTo>
                    <a:pt x="482865" y="301045"/>
                  </a:lnTo>
                  <a:lnTo>
                    <a:pt x="516078" y="301045"/>
                  </a:lnTo>
                  <a:lnTo>
                    <a:pt x="516078" y="169897"/>
                  </a:lnTo>
                  <a:cubicBezTo>
                    <a:pt x="516078" y="158400"/>
                    <a:pt x="514800" y="146903"/>
                    <a:pt x="507987" y="138387"/>
                  </a:cubicBezTo>
                  <a:cubicBezTo>
                    <a:pt x="502026" y="130723"/>
                    <a:pt x="492658" y="126039"/>
                    <a:pt x="480736" y="126039"/>
                  </a:cubicBezTo>
                  <a:cubicBezTo>
                    <a:pt x="465833" y="126039"/>
                    <a:pt x="450078" y="134981"/>
                    <a:pt x="441562" y="145200"/>
                  </a:cubicBezTo>
                  <a:close/>
                  <a:moveTo>
                    <a:pt x="35342" y="70684"/>
                  </a:moveTo>
                  <a:cubicBezTo>
                    <a:pt x="54929" y="70684"/>
                    <a:pt x="70684" y="54929"/>
                    <a:pt x="70684" y="35342"/>
                  </a:cubicBezTo>
                  <a:cubicBezTo>
                    <a:pt x="70684" y="15755"/>
                    <a:pt x="54929" y="0"/>
                    <a:pt x="35342" y="0"/>
                  </a:cubicBezTo>
                  <a:cubicBezTo>
                    <a:pt x="15755" y="0"/>
                    <a:pt x="0" y="15755"/>
                    <a:pt x="0" y="35342"/>
                  </a:cubicBezTo>
                  <a:cubicBezTo>
                    <a:pt x="0" y="54929"/>
                    <a:pt x="15755" y="70684"/>
                    <a:pt x="35342" y="70684"/>
                  </a:cubicBezTo>
                  <a:close/>
                  <a:moveTo>
                    <a:pt x="198426" y="301471"/>
                  </a:moveTo>
                  <a:lnTo>
                    <a:pt x="198426" y="169897"/>
                  </a:lnTo>
                  <a:cubicBezTo>
                    <a:pt x="198426" y="158400"/>
                    <a:pt x="197148" y="146903"/>
                    <a:pt x="190336" y="138387"/>
                  </a:cubicBezTo>
                  <a:cubicBezTo>
                    <a:pt x="184374" y="130723"/>
                    <a:pt x="175007" y="126039"/>
                    <a:pt x="163084" y="126039"/>
                  </a:cubicBezTo>
                  <a:cubicBezTo>
                    <a:pt x="147755" y="126039"/>
                    <a:pt x="132000" y="134981"/>
                    <a:pt x="123484" y="145200"/>
                  </a:cubicBezTo>
                  <a:cubicBezTo>
                    <a:pt x="123058" y="136258"/>
                    <a:pt x="120077" y="127742"/>
                    <a:pt x="119226" y="124761"/>
                  </a:cubicBezTo>
                  <a:lnTo>
                    <a:pt x="88568" y="133277"/>
                  </a:lnTo>
                  <a:cubicBezTo>
                    <a:pt x="90271" y="142645"/>
                    <a:pt x="92826" y="154142"/>
                    <a:pt x="92826" y="175006"/>
                  </a:cubicBezTo>
                  <a:lnTo>
                    <a:pt x="92826" y="301471"/>
                  </a:lnTo>
                  <a:lnTo>
                    <a:pt x="126039" y="301471"/>
                  </a:lnTo>
                  <a:lnTo>
                    <a:pt x="126039" y="173729"/>
                  </a:lnTo>
                  <a:cubicBezTo>
                    <a:pt x="134129" y="163935"/>
                    <a:pt x="143497" y="158400"/>
                    <a:pt x="150310" y="158400"/>
                  </a:cubicBezTo>
                  <a:cubicBezTo>
                    <a:pt x="154568" y="158400"/>
                    <a:pt x="158826" y="159252"/>
                    <a:pt x="161381" y="162658"/>
                  </a:cubicBezTo>
                  <a:cubicBezTo>
                    <a:pt x="163936" y="166490"/>
                    <a:pt x="165213" y="172026"/>
                    <a:pt x="165213" y="185226"/>
                  </a:cubicBezTo>
                  <a:lnTo>
                    <a:pt x="165213" y="301471"/>
                  </a:lnTo>
                  <a:lnTo>
                    <a:pt x="198426" y="301471"/>
                  </a:lnTo>
                  <a:close/>
                  <a:moveTo>
                    <a:pt x="351291" y="61316"/>
                  </a:moveTo>
                  <a:cubicBezTo>
                    <a:pt x="338942" y="61316"/>
                    <a:pt x="329149" y="71110"/>
                    <a:pt x="329149" y="83458"/>
                  </a:cubicBezTo>
                  <a:cubicBezTo>
                    <a:pt x="329149" y="95806"/>
                    <a:pt x="338942" y="105600"/>
                    <a:pt x="350865" y="105600"/>
                  </a:cubicBezTo>
                  <a:cubicBezTo>
                    <a:pt x="363213" y="105600"/>
                    <a:pt x="373007" y="95806"/>
                    <a:pt x="373007" y="83458"/>
                  </a:cubicBezTo>
                  <a:cubicBezTo>
                    <a:pt x="373007" y="71110"/>
                    <a:pt x="363213" y="61316"/>
                    <a:pt x="351291" y="61316"/>
                  </a:cubicBezTo>
                  <a:close/>
                  <a:moveTo>
                    <a:pt x="19587" y="301471"/>
                  </a:moveTo>
                  <a:lnTo>
                    <a:pt x="52800" y="301471"/>
                  </a:lnTo>
                  <a:lnTo>
                    <a:pt x="52800" y="94103"/>
                  </a:lnTo>
                  <a:lnTo>
                    <a:pt x="19587" y="98361"/>
                  </a:lnTo>
                  <a:lnTo>
                    <a:pt x="19587" y="301471"/>
                  </a:lnTo>
                  <a:close/>
                  <a:moveTo>
                    <a:pt x="290826" y="81755"/>
                  </a:moveTo>
                  <a:cubicBezTo>
                    <a:pt x="296787" y="81755"/>
                    <a:pt x="302749" y="83884"/>
                    <a:pt x="306581" y="86865"/>
                  </a:cubicBezTo>
                  <a:lnTo>
                    <a:pt x="315949" y="60890"/>
                  </a:lnTo>
                  <a:cubicBezTo>
                    <a:pt x="307007" y="54503"/>
                    <a:pt x="297213" y="51523"/>
                    <a:pt x="284865" y="51523"/>
                  </a:cubicBezTo>
                  <a:cubicBezTo>
                    <a:pt x="276349" y="51523"/>
                    <a:pt x="267407" y="53652"/>
                    <a:pt x="259316" y="60039"/>
                  </a:cubicBezTo>
                  <a:cubicBezTo>
                    <a:pt x="251226" y="66852"/>
                    <a:pt x="242710" y="80477"/>
                    <a:pt x="242710" y="106026"/>
                  </a:cubicBezTo>
                  <a:cubicBezTo>
                    <a:pt x="242710" y="117097"/>
                    <a:pt x="243136" y="128594"/>
                    <a:pt x="243136" y="128594"/>
                  </a:cubicBezTo>
                  <a:lnTo>
                    <a:pt x="231639" y="128594"/>
                  </a:lnTo>
                  <a:lnTo>
                    <a:pt x="231639" y="157974"/>
                  </a:lnTo>
                  <a:lnTo>
                    <a:pt x="243136" y="157974"/>
                  </a:lnTo>
                  <a:lnTo>
                    <a:pt x="243136" y="301045"/>
                  </a:lnTo>
                  <a:lnTo>
                    <a:pt x="277200" y="301045"/>
                  </a:lnTo>
                  <a:lnTo>
                    <a:pt x="277200" y="158400"/>
                  </a:lnTo>
                  <a:lnTo>
                    <a:pt x="302323" y="158400"/>
                  </a:lnTo>
                  <a:lnTo>
                    <a:pt x="308710" y="129019"/>
                  </a:lnTo>
                  <a:lnTo>
                    <a:pt x="277626" y="129019"/>
                  </a:lnTo>
                  <a:lnTo>
                    <a:pt x="277626" y="102619"/>
                  </a:lnTo>
                  <a:cubicBezTo>
                    <a:pt x="277626" y="89845"/>
                    <a:pt x="282736" y="81755"/>
                    <a:pt x="290826" y="81755"/>
                  </a:cubicBezTo>
                  <a:close/>
                  <a:moveTo>
                    <a:pt x="334258" y="301471"/>
                  </a:moveTo>
                  <a:lnTo>
                    <a:pt x="367897" y="301471"/>
                  </a:lnTo>
                  <a:lnTo>
                    <a:pt x="367897" y="126039"/>
                  </a:lnTo>
                  <a:lnTo>
                    <a:pt x="334258" y="130297"/>
                  </a:lnTo>
                  <a:lnTo>
                    <a:pt x="334258" y="301471"/>
                  </a:lnTo>
                  <a:close/>
                </a:path>
              </a:pathLst>
            </a:custGeom>
            <a:solidFill>
              <a:srgbClr val="005DA9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B3DFC8B-687C-41DA-A4C3-866145B61F3A}"/>
                </a:ext>
              </a:extLst>
            </p:cNvPr>
            <p:cNvSpPr/>
            <p:nvPr/>
          </p:nvSpPr>
          <p:spPr>
            <a:xfrm>
              <a:off x="10659752" y="193689"/>
              <a:ext cx="1206736" cy="528057"/>
            </a:xfrm>
            <a:custGeom>
              <a:avLst/>
              <a:gdLst>
                <a:gd name="connsiteX0" fmla="*/ 1024065 w 1206736"/>
                <a:gd name="connsiteY0" fmla="*/ 444872 h 528057"/>
                <a:gd name="connsiteX1" fmla="*/ 641265 w 1206736"/>
                <a:gd name="connsiteY1" fmla="*/ 492562 h 528057"/>
                <a:gd name="connsiteX2" fmla="*/ 67703 w 1206736"/>
                <a:gd name="connsiteY2" fmla="*/ 261349 h 528057"/>
                <a:gd name="connsiteX3" fmla="*/ 165639 w 1206736"/>
                <a:gd name="connsiteY3" fmla="*/ 122962 h 528057"/>
                <a:gd name="connsiteX4" fmla="*/ 146478 w 1206736"/>
                <a:gd name="connsiteY4" fmla="*/ 85491 h 528057"/>
                <a:gd name="connsiteX5" fmla="*/ 0 w 1206736"/>
                <a:gd name="connsiteY5" fmla="*/ 265181 h 528057"/>
                <a:gd name="connsiteX6" fmla="*/ 644671 w 1206736"/>
                <a:gd name="connsiteY6" fmla="*/ 527904 h 528057"/>
                <a:gd name="connsiteX7" fmla="*/ 992130 w 1206736"/>
                <a:gd name="connsiteY7" fmla="*/ 473826 h 528057"/>
                <a:gd name="connsiteX8" fmla="*/ 1206736 w 1206736"/>
                <a:gd name="connsiteY8" fmla="*/ 353749 h 528057"/>
                <a:gd name="connsiteX9" fmla="*/ 1024065 w 1206736"/>
                <a:gd name="connsiteY9" fmla="*/ 444872 h 528057"/>
                <a:gd name="connsiteX10" fmla="*/ 309136 w 1206736"/>
                <a:gd name="connsiteY10" fmla="*/ 58239 h 528057"/>
                <a:gd name="connsiteX11" fmla="*/ 363639 w 1206736"/>
                <a:gd name="connsiteY11" fmla="*/ 40781 h 528057"/>
                <a:gd name="connsiteX12" fmla="*/ 645097 w 1206736"/>
                <a:gd name="connsiteY12" fmla="*/ 2459 h 528057"/>
                <a:gd name="connsiteX13" fmla="*/ 356826 w 1206736"/>
                <a:gd name="connsiteY13" fmla="*/ 17788 h 528057"/>
                <a:gd name="connsiteX14" fmla="*/ 298490 w 1206736"/>
                <a:gd name="connsiteY14" fmla="*/ 30136 h 528057"/>
                <a:gd name="connsiteX15" fmla="*/ 275071 w 1206736"/>
                <a:gd name="connsiteY15" fmla="*/ 36523 h 528057"/>
                <a:gd name="connsiteX16" fmla="*/ 253781 w 1206736"/>
                <a:gd name="connsiteY16" fmla="*/ 42484 h 528057"/>
                <a:gd name="connsiteX17" fmla="*/ 228232 w 1206736"/>
                <a:gd name="connsiteY17" fmla="*/ 51001 h 528057"/>
                <a:gd name="connsiteX18" fmla="*/ 242284 w 1206736"/>
                <a:gd name="connsiteY18" fmla="*/ 83362 h 528057"/>
                <a:gd name="connsiteX19" fmla="*/ 309136 w 1206736"/>
                <a:gd name="connsiteY19" fmla="*/ 58239 h 52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6736" h="528057">
                  <a:moveTo>
                    <a:pt x="1024065" y="444872"/>
                  </a:moveTo>
                  <a:cubicBezTo>
                    <a:pt x="911652" y="478085"/>
                    <a:pt x="774968" y="492562"/>
                    <a:pt x="641265" y="492562"/>
                  </a:cubicBezTo>
                  <a:cubicBezTo>
                    <a:pt x="301897" y="492562"/>
                    <a:pt x="83032" y="392923"/>
                    <a:pt x="67703" y="261349"/>
                  </a:cubicBezTo>
                  <a:cubicBezTo>
                    <a:pt x="62168" y="211955"/>
                    <a:pt x="100916" y="163839"/>
                    <a:pt x="165639" y="122962"/>
                  </a:cubicBezTo>
                  <a:cubicBezTo>
                    <a:pt x="154142" y="114446"/>
                    <a:pt x="146903" y="100820"/>
                    <a:pt x="146478" y="85491"/>
                  </a:cubicBezTo>
                  <a:cubicBezTo>
                    <a:pt x="52800" y="134885"/>
                    <a:pt x="0" y="199607"/>
                    <a:pt x="0" y="265181"/>
                  </a:cubicBezTo>
                  <a:cubicBezTo>
                    <a:pt x="0" y="410381"/>
                    <a:pt x="259316" y="533014"/>
                    <a:pt x="644671" y="527904"/>
                  </a:cubicBezTo>
                  <a:cubicBezTo>
                    <a:pt x="778800" y="526201"/>
                    <a:pt x="890788" y="507039"/>
                    <a:pt x="992130" y="473826"/>
                  </a:cubicBezTo>
                  <a:cubicBezTo>
                    <a:pt x="1112633" y="434652"/>
                    <a:pt x="1188427" y="378446"/>
                    <a:pt x="1206736" y="353749"/>
                  </a:cubicBezTo>
                  <a:cubicBezTo>
                    <a:pt x="1185020" y="373336"/>
                    <a:pt x="1133498" y="412510"/>
                    <a:pt x="1024065" y="444872"/>
                  </a:cubicBezTo>
                  <a:close/>
                  <a:moveTo>
                    <a:pt x="309136" y="58239"/>
                  </a:moveTo>
                  <a:cubicBezTo>
                    <a:pt x="331703" y="50575"/>
                    <a:pt x="363639" y="40781"/>
                    <a:pt x="363639" y="40781"/>
                  </a:cubicBezTo>
                  <a:cubicBezTo>
                    <a:pt x="453484" y="16084"/>
                    <a:pt x="552697" y="1607"/>
                    <a:pt x="645097" y="2459"/>
                  </a:cubicBezTo>
                  <a:cubicBezTo>
                    <a:pt x="538645" y="-3928"/>
                    <a:pt x="441562" y="2459"/>
                    <a:pt x="356826" y="17788"/>
                  </a:cubicBezTo>
                  <a:cubicBezTo>
                    <a:pt x="356826" y="17788"/>
                    <a:pt x="328723" y="22472"/>
                    <a:pt x="298490" y="30136"/>
                  </a:cubicBezTo>
                  <a:cubicBezTo>
                    <a:pt x="298490" y="30136"/>
                    <a:pt x="284013" y="33968"/>
                    <a:pt x="275071" y="36523"/>
                  </a:cubicBezTo>
                  <a:cubicBezTo>
                    <a:pt x="266129" y="39078"/>
                    <a:pt x="253781" y="42484"/>
                    <a:pt x="253781" y="42484"/>
                  </a:cubicBezTo>
                  <a:cubicBezTo>
                    <a:pt x="245265" y="45039"/>
                    <a:pt x="236749" y="48020"/>
                    <a:pt x="228232" y="51001"/>
                  </a:cubicBezTo>
                  <a:cubicBezTo>
                    <a:pt x="236749" y="59517"/>
                    <a:pt x="241858" y="70588"/>
                    <a:pt x="242284" y="83362"/>
                  </a:cubicBezTo>
                  <a:cubicBezTo>
                    <a:pt x="257187" y="76549"/>
                    <a:pt x="285716" y="66330"/>
                    <a:pt x="309136" y="58239"/>
                  </a:cubicBezTo>
                  <a:close/>
                </a:path>
              </a:pathLst>
            </a:custGeom>
            <a:solidFill>
              <a:srgbClr val="E30034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" name="empower - DO NOT DELETE!!!" hidden="1"/>
          <p:cNvSpPr/>
          <p:nvPr userDrawn="1">
            <p:custDataLst>
              <p:tags r:id="rId25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en-US" sz="800" b="1" kern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en-US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40.svg"/><Relationship Id="rId3" Type="http://schemas.openxmlformats.org/officeDocument/2006/relationships/tags" Target="../tags/tag250.xml"/><Relationship Id="rId7" Type="http://schemas.openxmlformats.org/officeDocument/2006/relationships/oleObject" Target="../embeddings/oleObject12.bin"/><Relationship Id="rId12" Type="http://schemas.openxmlformats.org/officeDocument/2006/relationships/image" Target="../media/image39.png"/><Relationship Id="rId17" Type="http://schemas.openxmlformats.org/officeDocument/2006/relationships/image" Target="../media/image26.svg"/><Relationship Id="rId2" Type="http://schemas.openxmlformats.org/officeDocument/2006/relationships/tags" Target="../tags/tag249.xml"/><Relationship Id="rId16" Type="http://schemas.openxmlformats.org/officeDocument/2006/relationships/image" Target="../media/image25.png"/><Relationship Id="rId1" Type="http://schemas.openxmlformats.org/officeDocument/2006/relationships/vmlDrawing" Target="../drawings/vmlDrawing12.vml"/><Relationship Id="rId6" Type="http://schemas.openxmlformats.org/officeDocument/2006/relationships/slideLayout" Target="../slideLayouts/slideLayout4.xml"/><Relationship Id="rId11" Type="http://schemas.openxmlformats.org/officeDocument/2006/relationships/image" Target="../media/image38.svg"/><Relationship Id="rId5" Type="http://schemas.openxmlformats.org/officeDocument/2006/relationships/tags" Target="../tags/tag252.xml"/><Relationship Id="rId15" Type="http://schemas.openxmlformats.org/officeDocument/2006/relationships/image" Target="../media/image42.svg"/><Relationship Id="rId10" Type="http://schemas.openxmlformats.org/officeDocument/2006/relationships/image" Target="../media/image37.png"/><Relationship Id="rId4" Type="http://schemas.openxmlformats.org/officeDocument/2006/relationships/tags" Target="../tags/tag251.xml"/><Relationship Id="rId9" Type="http://schemas.openxmlformats.org/officeDocument/2006/relationships/image" Target="../media/image36.png"/><Relationship Id="rId14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4.svg"/><Relationship Id="rId2" Type="http://schemas.openxmlformats.org/officeDocument/2006/relationships/tags" Target="../tags/tag25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3.png"/><Relationship Id="rId11" Type="http://schemas.openxmlformats.org/officeDocument/2006/relationships/image" Target="../media/image48.svg"/><Relationship Id="rId5" Type="http://schemas.openxmlformats.org/officeDocument/2006/relationships/image" Target="../media/image1.emf"/><Relationship Id="rId10" Type="http://schemas.openxmlformats.org/officeDocument/2006/relationships/image" Target="../media/image47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6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55.xml"/><Relationship Id="rId7" Type="http://schemas.openxmlformats.org/officeDocument/2006/relationships/image" Target="../media/image49.jpeg"/><Relationship Id="rId2" Type="http://schemas.openxmlformats.org/officeDocument/2006/relationships/tags" Target="../tags/tag25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0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257.xml"/><Relationship Id="rId7" Type="http://schemas.openxmlformats.org/officeDocument/2006/relationships/image" Target="../media/image1.emf"/><Relationship Id="rId2" Type="http://schemas.openxmlformats.org/officeDocument/2006/relationships/tags" Target="../tags/tag25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51.png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50.png"/><Relationship Id="rId4" Type="http://schemas.openxmlformats.org/officeDocument/2006/relationships/tags" Target="../tags/tag258.xml"/><Relationship Id="rId9" Type="http://schemas.openxmlformats.org/officeDocument/2006/relationships/image" Target="../media/image28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13" Type="http://schemas.openxmlformats.org/officeDocument/2006/relationships/image" Target="../media/image55.svg"/><Relationship Id="rId3" Type="http://schemas.openxmlformats.org/officeDocument/2006/relationships/tags" Target="../tags/tag260.xml"/><Relationship Id="rId7" Type="http://schemas.openxmlformats.org/officeDocument/2006/relationships/notesSlide" Target="../notesSlides/notesSlide5.xml"/><Relationship Id="rId12" Type="http://schemas.openxmlformats.org/officeDocument/2006/relationships/image" Target="../media/image54.png"/><Relationship Id="rId2" Type="http://schemas.openxmlformats.org/officeDocument/2006/relationships/tags" Target="../tags/tag259.xml"/><Relationship Id="rId1" Type="http://schemas.openxmlformats.org/officeDocument/2006/relationships/vmlDrawing" Target="../drawings/vmlDrawing16.vml"/><Relationship Id="rId6" Type="http://schemas.openxmlformats.org/officeDocument/2006/relationships/slideLayout" Target="../slideLayouts/slideLayout4.xml"/><Relationship Id="rId11" Type="http://schemas.openxmlformats.org/officeDocument/2006/relationships/image" Target="../media/image53.svg"/><Relationship Id="rId5" Type="http://schemas.openxmlformats.org/officeDocument/2006/relationships/tags" Target="../tags/tag262.xml"/><Relationship Id="rId15" Type="http://schemas.openxmlformats.org/officeDocument/2006/relationships/image" Target="../media/image57.svg"/><Relationship Id="rId10" Type="http://schemas.openxmlformats.org/officeDocument/2006/relationships/image" Target="../media/image52.png"/><Relationship Id="rId4" Type="http://schemas.openxmlformats.org/officeDocument/2006/relationships/tags" Target="../tags/tag261.xml"/><Relationship Id="rId9" Type="http://schemas.openxmlformats.org/officeDocument/2006/relationships/image" Target="../media/image1.emf"/><Relationship Id="rId14" Type="http://schemas.openxmlformats.org/officeDocument/2006/relationships/image" Target="../media/image5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69.xml"/><Relationship Id="rId13" Type="http://schemas.openxmlformats.org/officeDocument/2006/relationships/image" Target="../media/image1.emf"/><Relationship Id="rId18" Type="http://schemas.openxmlformats.org/officeDocument/2006/relationships/image" Target="../media/image62.png"/><Relationship Id="rId3" Type="http://schemas.openxmlformats.org/officeDocument/2006/relationships/tags" Target="../tags/tag264.xml"/><Relationship Id="rId21" Type="http://schemas.openxmlformats.org/officeDocument/2006/relationships/image" Target="../media/image65.svg"/><Relationship Id="rId7" Type="http://schemas.openxmlformats.org/officeDocument/2006/relationships/tags" Target="../tags/tag268.xml"/><Relationship Id="rId12" Type="http://schemas.openxmlformats.org/officeDocument/2006/relationships/oleObject" Target="../embeddings/oleObject17.bin"/><Relationship Id="rId17" Type="http://schemas.openxmlformats.org/officeDocument/2006/relationships/image" Target="../media/image61.svg"/><Relationship Id="rId2" Type="http://schemas.openxmlformats.org/officeDocument/2006/relationships/tags" Target="../tags/tag263.xml"/><Relationship Id="rId16" Type="http://schemas.openxmlformats.org/officeDocument/2006/relationships/image" Target="../media/image60.png"/><Relationship Id="rId20" Type="http://schemas.openxmlformats.org/officeDocument/2006/relationships/image" Target="../media/image64.png"/><Relationship Id="rId1" Type="http://schemas.openxmlformats.org/officeDocument/2006/relationships/vmlDrawing" Target="../drawings/vmlDrawing17.vml"/><Relationship Id="rId6" Type="http://schemas.openxmlformats.org/officeDocument/2006/relationships/tags" Target="../tags/tag267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266.xml"/><Relationship Id="rId15" Type="http://schemas.openxmlformats.org/officeDocument/2006/relationships/image" Target="../media/image59.svg"/><Relationship Id="rId10" Type="http://schemas.openxmlformats.org/officeDocument/2006/relationships/tags" Target="../tags/tag271.xml"/><Relationship Id="rId19" Type="http://schemas.openxmlformats.org/officeDocument/2006/relationships/image" Target="../media/image63.svg"/><Relationship Id="rId4" Type="http://schemas.openxmlformats.org/officeDocument/2006/relationships/tags" Target="../tags/tag265.xml"/><Relationship Id="rId9" Type="http://schemas.openxmlformats.org/officeDocument/2006/relationships/tags" Target="../tags/tag270.xml"/><Relationship Id="rId1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4.xml"/><Relationship Id="rId7" Type="http://schemas.openxmlformats.org/officeDocument/2006/relationships/oleObject" Target="../embeddings/oleObject19.bin"/><Relationship Id="rId2" Type="http://schemas.openxmlformats.org/officeDocument/2006/relationships/tags" Target="../tags/tag273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20.svg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9.png"/><Relationship Id="rId4" Type="http://schemas.openxmlformats.org/officeDocument/2006/relationships/tags" Target="../tags/tag275.xml"/><Relationship Id="rId9" Type="http://schemas.openxmlformats.org/officeDocument/2006/relationships/image" Target="../media/image66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3" Type="http://schemas.openxmlformats.org/officeDocument/2006/relationships/tags" Target="../tags/tag277.xml"/><Relationship Id="rId7" Type="http://schemas.openxmlformats.org/officeDocument/2006/relationships/image" Target="../media/image67.png"/><Relationship Id="rId12" Type="http://schemas.openxmlformats.org/officeDocument/2006/relationships/image" Target="../media/image72.svg"/><Relationship Id="rId2" Type="http://schemas.openxmlformats.org/officeDocument/2006/relationships/tags" Target="../tags/tag27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71.pn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70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6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13" Type="http://schemas.openxmlformats.org/officeDocument/2006/relationships/image" Target="../media/image6.png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image" Target="../media/image5.jpeg"/><Relationship Id="rId17" Type="http://schemas.openxmlformats.org/officeDocument/2006/relationships/image" Target="../media/image10.svg"/><Relationship Id="rId2" Type="http://schemas.openxmlformats.org/officeDocument/2006/relationships/tags" Target="../tags/tag216.xml"/><Relationship Id="rId16" Type="http://schemas.openxmlformats.org/officeDocument/2006/relationships/image" Target="../media/image9.png"/><Relationship Id="rId1" Type="http://schemas.openxmlformats.org/officeDocument/2006/relationships/vmlDrawing" Target="../drawings/vmlDrawing3.vml"/><Relationship Id="rId6" Type="http://schemas.openxmlformats.org/officeDocument/2006/relationships/tags" Target="../tags/tag220.xml"/><Relationship Id="rId11" Type="http://schemas.openxmlformats.org/officeDocument/2006/relationships/image" Target="../media/image1.emf"/><Relationship Id="rId5" Type="http://schemas.openxmlformats.org/officeDocument/2006/relationships/tags" Target="../tags/tag219.xml"/><Relationship Id="rId15" Type="http://schemas.openxmlformats.org/officeDocument/2006/relationships/image" Target="../media/image8.png"/><Relationship Id="rId10" Type="http://schemas.openxmlformats.org/officeDocument/2006/relationships/oleObject" Target="../embeddings/oleObject3.bin"/><Relationship Id="rId4" Type="http://schemas.openxmlformats.org/officeDocument/2006/relationships/tags" Target="../tags/tag218.xml"/><Relationship Id="rId9" Type="http://schemas.openxmlformats.org/officeDocument/2006/relationships/slideLayout" Target="../slideLayouts/slideLayout4.xml"/><Relationship Id="rId1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289.xml"/><Relationship Id="rId18" Type="http://schemas.openxmlformats.org/officeDocument/2006/relationships/image" Target="../media/image74.svg"/><Relationship Id="rId26" Type="http://schemas.openxmlformats.org/officeDocument/2006/relationships/image" Target="../media/image82.svg"/><Relationship Id="rId3" Type="http://schemas.openxmlformats.org/officeDocument/2006/relationships/tags" Target="../tags/tag279.xml"/><Relationship Id="rId21" Type="http://schemas.openxmlformats.org/officeDocument/2006/relationships/image" Target="../media/image77.png"/><Relationship Id="rId34" Type="http://schemas.openxmlformats.org/officeDocument/2006/relationships/image" Target="../media/image88.svg"/><Relationship Id="rId7" Type="http://schemas.openxmlformats.org/officeDocument/2006/relationships/tags" Target="../tags/tag283.xml"/><Relationship Id="rId12" Type="http://schemas.openxmlformats.org/officeDocument/2006/relationships/tags" Target="../tags/tag288.xml"/><Relationship Id="rId17" Type="http://schemas.openxmlformats.org/officeDocument/2006/relationships/image" Target="../media/image73.png"/><Relationship Id="rId25" Type="http://schemas.openxmlformats.org/officeDocument/2006/relationships/image" Target="../media/image81.png"/><Relationship Id="rId33" Type="http://schemas.openxmlformats.org/officeDocument/2006/relationships/image" Target="../media/image87.png"/><Relationship Id="rId2" Type="http://schemas.openxmlformats.org/officeDocument/2006/relationships/tags" Target="../tags/tag278.xml"/><Relationship Id="rId16" Type="http://schemas.openxmlformats.org/officeDocument/2006/relationships/image" Target="../media/image1.emf"/><Relationship Id="rId20" Type="http://schemas.openxmlformats.org/officeDocument/2006/relationships/image" Target="../media/image76.svg"/><Relationship Id="rId29" Type="http://schemas.openxmlformats.org/officeDocument/2006/relationships/image" Target="../media/image83.png"/><Relationship Id="rId1" Type="http://schemas.openxmlformats.org/officeDocument/2006/relationships/vmlDrawing" Target="../drawings/vmlDrawing21.vml"/><Relationship Id="rId6" Type="http://schemas.openxmlformats.org/officeDocument/2006/relationships/tags" Target="../tags/tag282.xml"/><Relationship Id="rId11" Type="http://schemas.openxmlformats.org/officeDocument/2006/relationships/tags" Target="../tags/tag287.xml"/><Relationship Id="rId24" Type="http://schemas.openxmlformats.org/officeDocument/2006/relationships/image" Target="../media/image80.svg"/><Relationship Id="rId32" Type="http://schemas.openxmlformats.org/officeDocument/2006/relationships/image" Target="../media/image86.svg"/><Relationship Id="rId5" Type="http://schemas.openxmlformats.org/officeDocument/2006/relationships/tags" Target="../tags/tag281.xml"/><Relationship Id="rId15" Type="http://schemas.openxmlformats.org/officeDocument/2006/relationships/oleObject" Target="../embeddings/oleObject21.bin"/><Relationship Id="rId23" Type="http://schemas.openxmlformats.org/officeDocument/2006/relationships/image" Target="../media/image79.png"/><Relationship Id="rId28" Type="http://schemas.openxmlformats.org/officeDocument/2006/relationships/image" Target="../media/image28.svg"/><Relationship Id="rId36" Type="http://schemas.openxmlformats.org/officeDocument/2006/relationships/image" Target="../media/image90.svg"/><Relationship Id="rId10" Type="http://schemas.openxmlformats.org/officeDocument/2006/relationships/tags" Target="../tags/tag286.xml"/><Relationship Id="rId19" Type="http://schemas.openxmlformats.org/officeDocument/2006/relationships/image" Target="../media/image75.png"/><Relationship Id="rId31" Type="http://schemas.openxmlformats.org/officeDocument/2006/relationships/image" Target="../media/image85.png"/><Relationship Id="rId4" Type="http://schemas.openxmlformats.org/officeDocument/2006/relationships/tags" Target="../tags/tag280.xml"/><Relationship Id="rId9" Type="http://schemas.openxmlformats.org/officeDocument/2006/relationships/tags" Target="../tags/tag285.xml"/><Relationship Id="rId14" Type="http://schemas.openxmlformats.org/officeDocument/2006/relationships/slideLayout" Target="../slideLayouts/slideLayout4.xml"/><Relationship Id="rId22" Type="http://schemas.openxmlformats.org/officeDocument/2006/relationships/image" Target="../media/image78.svg"/><Relationship Id="rId27" Type="http://schemas.openxmlformats.org/officeDocument/2006/relationships/image" Target="../media/image27.png"/><Relationship Id="rId30" Type="http://schemas.openxmlformats.org/officeDocument/2006/relationships/image" Target="../media/image84.svg"/><Relationship Id="rId35" Type="http://schemas.openxmlformats.org/officeDocument/2006/relationships/image" Target="../media/image89.png"/><Relationship Id="rId8" Type="http://schemas.openxmlformats.org/officeDocument/2006/relationships/tags" Target="../tags/tag28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13" Type="http://schemas.openxmlformats.org/officeDocument/2006/relationships/image" Target="../media/image93.svg"/><Relationship Id="rId3" Type="http://schemas.openxmlformats.org/officeDocument/2006/relationships/tags" Target="../tags/tag291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92.png"/><Relationship Id="rId2" Type="http://schemas.openxmlformats.org/officeDocument/2006/relationships/tags" Target="../tags/tag29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94.xml"/><Relationship Id="rId11" Type="http://schemas.openxmlformats.org/officeDocument/2006/relationships/image" Target="../media/image91.jpeg"/><Relationship Id="rId5" Type="http://schemas.openxmlformats.org/officeDocument/2006/relationships/tags" Target="../tags/tag293.xml"/><Relationship Id="rId10" Type="http://schemas.openxmlformats.org/officeDocument/2006/relationships/image" Target="../media/image1.emf"/><Relationship Id="rId4" Type="http://schemas.openxmlformats.org/officeDocument/2006/relationships/tags" Target="../tags/tag292.xml"/><Relationship Id="rId9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jpeg"/><Relationship Id="rId3" Type="http://schemas.openxmlformats.org/officeDocument/2006/relationships/tags" Target="../tags/tag296.xml"/><Relationship Id="rId7" Type="http://schemas.openxmlformats.org/officeDocument/2006/relationships/image" Target="../media/image1.emf"/><Relationship Id="rId2" Type="http://schemas.openxmlformats.org/officeDocument/2006/relationships/tags" Target="../tags/tag29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0.sv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tags" Target="../tags/tag298.xml"/><Relationship Id="rId7" Type="http://schemas.openxmlformats.org/officeDocument/2006/relationships/image" Target="../media/image95.jpeg"/><Relationship Id="rId2" Type="http://schemas.openxmlformats.org/officeDocument/2006/relationships/tags" Target="../tags/tag29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13" Type="http://schemas.openxmlformats.org/officeDocument/2006/relationships/image" Target="../media/image98.svg"/><Relationship Id="rId18" Type="http://schemas.openxmlformats.org/officeDocument/2006/relationships/image" Target="../media/image103.jpeg"/><Relationship Id="rId3" Type="http://schemas.openxmlformats.org/officeDocument/2006/relationships/tags" Target="../tags/tag300.xml"/><Relationship Id="rId7" Type="http://schemas.openxmlformats.org/officeDocument/2006/relationships/notesSlide" Target="../notesSlides/notesSlide9.xml"/><Relationship Id="rId12" Type="http://schemas.openxmlformats.org/officeDocument/2006/relationships/image" Target="../media/image97.png"/><Relationship Id="rId17" Type="http://schemas.openxmlformats.org/officeDocument/2006/relationships/image" Target="../media/image102.svg"/><Relationship Id="rId2" Type="http://schemas.openxmlformats.org/officeDocument/2006/relationships/tags" Target="../tags/tag299.xml"/><Relationship Id="rId16" Type="http://schemas.openxmlformats.org/officeDocument/2006/relationships/image" Target="../media/image101.png"/><Relationship Id="rId1" Type="http://schemas.openxmlformats.org/officeDocument/2006/relationships/vmlDrawing" Target="../drawings/vmlDrawing25.vml"/><Relationship Id="rId6" Type="http://schemas.openxmlformats.org/officeDocument/2006/relationships/slideLayout" Target="../slideLayouts/slideLayout4.xml"/><Relationship Id="rId11" Type="http://schemas.openxmlformats.org/officeDocument/2006/relationships/image" Target="../media/image16.svg"/><Relationship Id="rId5" Type="http://schemas.openxmlformats.org/officeDocument/2006/relationships/tags" Target="../tags/tag302.xml"/><Relationship Id="rId15" Type="http://schemas.openxmlformats.org/officeDocument/2006/relationships/image" Target="../media/image100.svg"/><Relationship Id="rId10" Type="http://schemas.openxmlformats.org/officeDocument/2006/relationships/image" Target="../media/image15.png"/><Relationship Id="rId4" Type="http://schemas.openxmlformats.org/officeDocument/2006/relationships/tags" Target="../tags/tag301.xml"/><Relationship Id="rId9" Type="http://schemas.openxmlformats.org/officeDocument/2006/relationships/image" Target="../media/image1.emf"/><Relationship Id="rId14" Type="http://schemas.openxmlformats.org/officeDocument/2006/relationships/image" Target="../media/image9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13" Type="http://schemas.openxmlformats.org/officeDocument/2006/relationships/image" Target="../media/image104.jpeg"/><Relationship Id="rId3" Type="http://schemas.openxmlformats.org/officeDocument/2006/relationships/tags" Target="../tags/tag304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93.svg"/><Relationship Id="rId2" Type="http://schemas.openxmlformats.org/officeDocument/2006/relationships/tags" Target="../tags/tag303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07.xml"/><Relationship Id="rId11" Type="http://schemas.openxmlformats.org/officeDocument/2006/relationships/image" Target="../media/image92.png"/><Relationship Id="rId5" Type="http://schemas.openxmlformats.org/officeDocument/2006/relationships/tags" Target="../tags/tag306.xml"/><Relationship Id="rId10" Type="http://schemas.openxmlformats.org/officeDocument/2006/relationships/image" Target="../media/image1.emf"/><Relationship Id="rId4" Type="http://schemas.openxmlformats.org/officeDocument/2006/relationships/tags" Target="../tags/tag305.xml"/><Relationship Id="rId9" Type="http://schemas.openxmlformats.org/officeDocument/2006/relationships/oleObject" Target="../embeddings/oleObject26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13" Type="http://schemas.openxmlformats.org/officeDocument/2006/relationships/image" Target="../media/image12.svg"/><Relationship Id="rId3" Type="http://schemas.openxmlformats.org/officeDocument/2006/relationships/tags" Target="../tags/tag309.xml"/><Relationship Id="rId7" Type="http://schemas.openxmlformats.org/officeDocument/2006/relationships/notesSlide" Target="../notesSlides/notesSlide11.xml"/><Relationship Id="rId12" Type="http://schemas.openxmlformats.org/officeDocument/2006/relationships/image" Target="../media/image11.png"/><Relationship Id="rId2" Type="http://schemas.openxmlformats.org/officeDocument/2006/relationships/tags" Target="../tags/tag308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16.xml"/><Relationship Id="rId11" Type="http://schemas.openxmlformats.org/officeDocument/2006/relationships/hyperlink" Target="https://github.com/Infineon/optiga-TPM" TargetMode="External"/><Relationship Id="rId5" Type="http://schemas.openxmlformats.org/officeDocument/2006/relationships/tags" Target="../tags/tag311.xml"/><Relationship Id="rId10" Type="http://schemas.openxmlformats.org/officeDocument/2006/relationships/hyperlink" Target="https://www.infineon.com/cms/en/product/security-smart-card-solutions/optiga-embedded-security-solutions/optiga-tpm/optiga-tpm-slb-9673-fw26/" TargetMode="External"/><Relationship Id="rId4" Type="http://schemas.openxmlformats.org/officeDocument/2006/relationships/tags" Target="../tags/tag310.xml"/><Relationship Id="rId9" Type="http://schemas.openxmlformats.org/officeDocument/2006/relationships/image" Target="../media/image1.emf"/><Relationship Id="rId14" Type="http://schemas.openxmlformats.org/officeDocument/2006/relationships/image" Target="../media/image105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14.svg"/><Relationship Id="rId3" Type="http://schemas.openxmlformats.org/officeDocument/2006/relationships/tags" Target="../tags/tag224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13.png"/><Relationship Id="rId2" Type="http://schemas.openxmlformats.org/officeDocument/2006/relationships/tags" Target="../tags/tag223.xml"/><Relationship Id="rId16" Type="http://schemas.openxmlformats.org/officeDocument/2006/relationships/image" Target="../media/image17.jpg"/><Relationship Id="rId1" Type="http://schemas.openxmlformats.org/officeDocument/2006/relationships/vmlDrawing" Target="../drawings/vmlDrawing4.vml"/><Relationship Id="rId6" Type="http://schemas.openxmlformats.org/officeDocument/2006/relationships/tags" Target="../tags/tag227.xml"/><Relationship Id="rId11" Type="http://schemas.openxmlformats.org/officeDocument/2006/relationships/image" Target="../media/image12.svg"/><Relationship Id="rId5" Type="http://schemas.openxmlformats.org/officeDocument/2006/relationships/tags" Target="../tags/tag226.xml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4" Type="http://schemas.openxmlformats.org/officeDocument/2006/relationships/tags" Target="../tags/tag225.xml"/><Relationship Id="rId9" Type="http://schemas.openxmlformats.org/officeDocument/2006/relationships/image" Target="../media/image1.emf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9.xml"/><Relationship Id="rId7" Type="http://schemas.openxmlformats.org/officeDocument/2006/relationships/oleObject" Target="../embeddings/oleObject5.bin"/><Relationship Id="rId2" Type="http://schemas.openxmlformats.org/officeDocument/2006/relationships/tags" Target="../tags/tag228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20.svg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9.png"/><Relationship Id="rId4" Type="http://schemas.openxmlformats.org/officeDocument/2006/relationships/tags" Target="../tags/tag230.xml"/><Relationship Id="rId9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3.png"/><Relationship Id="rId3" Type="http://schemas.openxmlformats.org/officeDocument/2006/relationships/tags" Target="../tags/tag233.xml"/><Relationship Id="rId7" Type="http://schemas.openxmlformats.org/officeDocument/2006/relationships/image" Target="../media/image1.emf"/><Relationship Id="rId12" Type="http://schemas.openxmlformats.org/officeDocument/2006/relationships/image" Target="../media/image24.svg"/><Relationship Id="rId2" Type="http://schemas.openxmlformats.org/officeDocument/2006/relationships/tags" Target="../tags/tag23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23.png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22.svg"/><Relationship Id="rId4" Type="http://schemas.openxmlformats.org/officeDocument/2006/relationships/tags" Target="../tags/tag234.xml"/><Relationship Id="rId9" Type="http://schemas.openxmlformats.org/officeDocument/2006/relationships/image" Target="../media/image21.png"/><Relationship Id="rId14" Type="http://schemas.openxmlformats.org/officeDocument/2006/relationships/image" Target="../media/image14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" Type="http://schemas.openxmlformats.org/officeDocument/2006/relationships/tags" Target="../tags/tag236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" Type="http://schemas.openxmlformats.org/officeDocument/2006/relationships/tags" Target="../tags/tag235.xml"/><Relationship Id="rId16" Type="http://schemas.openxmlformats.org/officeDocument/2006/relationships/image" Target="../media/image27.png"/><Relationship Id="rId20" Type="http://schemas.openxmlformats.org/officeDocument/2006/relationships/image" Target="../media/image31.svg"/><Relationship Id="rId1" Type="http://schemas.openxmlformats.org/officeDocument/2006/relationships/vmlDrawing" Target="../drawings/vmlDrawing8.vml"/><Relationship Id="rId6" Type="http://schemas.openxmlformats.org/officeDocument/2006/relationships/tags" Target="../tags/tag239.xml"/><Relationship Id="rId11" Type="http://schemas.openxmlformats.org/officeDocument/2006/relationships/image" Target="../media/image26.svg"/><Relationship Id="rId5" Type="http://schemas.openxmlformats.org/officeDocument/2006/relationships/tags" Target="../tags/tag238.xml"/><Relationship Id="rId15" Type="http://schemas.openxmlformats.org/officeDocument/2006/relationships/image" Target="../media/image22.svg"/><Relationship Id="rId10" Type="http://schemas.openxmlformats.org/officeDocument/2006/relationships/image" Target="../media/image25.png"/><Relationship Id="rId19" Type="http://schemas.openxmlformats.org/officeDocument/2006/relationships/image" Target="../media/image30.png"/><Relationship Id="rId4" Type="http://schemas.openxmlformats.org/officeDocument/2006/relationships/tags" Target="../tags/tag237.xml"/><Relationship Id="rId9" Type="http://schemas.openxmlformats.org/officeDocument/2006/relationships/image" Target="../media/image1.emf"/><Relationship Id="rId1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1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0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20.svg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9.png"/><Relationship Id="rId4" Type="http://schemas.openxmlformats.org/officeDocument/2006/relationships/tags" Target="../tags/tag242.xml"/><Relationship Id="rId9" Type="http://schemas.openxmlformats.org/officeDocument/2006/relationships/image" Target="../media/image32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13" Type="http://schemas.openxmlformats.org/officeDocument/2006/relationships/image" Target="../media/image34.png"/><Relationship Id="rId3" Type="http://schemas.openxmlformats.org/officeDocument/2006/relationships/tags" Target="../tags/tag244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20.svg"/><Relationship Id="rId2" Type="http://schemas.openxmlformats.org/officeDocument/2006/relationships/tags" Target="../tags/tag24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47.xml"/><Relationship Id="rId11" Type="http://schemas.openxmlformats.org/officeDocument/2006/relationships/image" Target="../media/image19.png"/><Relationship Id="rId5" Type="http://schemas.openxmlformats.org/officeDocument/2006/relationships/tags" Target="../tags/tag246.xml"/><Relationship Id="rId10" Type="http://schemas.openxmlformats.org/officeDocument/2006/relationships/image" Target="../media/image33.jpeg"/><Relationship Id="rId4" Type="http://schemas.openxmlformats.org/officeDocument/2006/relationships/tags" Target="../tags/tag245.xml"/><Relationship Id="rId9" Type="http://schemas.openxmlformats.org/officeDocument/2006/relationships/image" Target="../media/image1.emf"/><Relationship Id="rId14" Type="http://schemas.openxmlformats.org/officeDocument/2006/relationships/image" Target="../media/image3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2B60767-73FD-92AF-73A4-58C955A1B7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640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B5E1C8C-4C8D-EDAE-C497-EC61691296C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82B5392-A445-8360-5F31-DDDB4CF3EF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fineon Technologies </a:t>
            </a:r>
          </a:p>
          <a:p>
            <a:r>
              <a:rPr lang="en-US" dirty="0"/>
              <a:t>September 2023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B6903CB-95FE-5055-C1EC-BC729CEC8C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000" y="3619959"/>
            <a:ext cx="8280000" cy="1661993"/>
          </a:xfrm>
        </p:spPr>
        <p:txBody>
          <a:bodyPr vert="horz">
            <a:noAutofit/>
          </a:bodyPr>
          <a:lstStyle/>
          <a:p>
            <a:r>
              <a:rPr lang="en-US" dirty="0"/>
              <a:t>OPTIGA™ TPM SLB 9673</a:t>
            </a:r>
            <a:br>
              <a:rPr lang="en-US" dirty="0"/>
            </a:br>
            <a:r>
              <a:rPr lang="en-US" dirty="0"/>
              <a:t>A future-proof new generation TPM </a:t>
            </a:r>
            <a:br>
              <a:rPr lang="en-US" dirty="0"/>
            </a:br>
            <a:r>
              <a:rPr lang="en-US" dirty="0"/>
              <a:t>with I2C interfac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E5ECBE-859C-4C1E-B6AF-69F2E7BD79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B59FE1D-BE00-4AE5-E0B9-B09305E1F8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205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0F0A110-4E72-5146-0144-18001B609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antum computers, </a:t>
            </a:r>
            <a:br>
              <a:rPr lang="en-US" dirty="0"/>
            </a:br>
            <a:r>
              <a:rPr lang="en-US" dirty="0"/>
              <a:t>a threat to currently known security algorithms</a:t>
            </a:r>
          </a:p>
        </p:txBody>
      </p:sp>
      <p:sp>
        <p:nvSpPr>
          <p:cNvPr id="8" name="Rectangle 19">
            <a:extLst>
              <a:ext uri="{FF2B5EF4-FFF2-40B4-BE49-F238E27FC236}">
                <a16:creationId xmlns:a16="http://schemas.microsoft.com/office/drawing/2014/main" id="{39E7312D-CD64-6668-81F1-131B959A44A0}"/>
              </a:ext>
            </a:extLst>
          </p:cNvPr>
          <p:cNvSpPr/>
          <p:nvPr/>
        </p:nvSpPr>
        <p:spPr bwMode="auto">
          <a:xfrm>
            <a:off x="2315579" y="4149080"/>
            <a:ext cx="9541985" cy="1711827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square" lIns="108000" tIns="72000" rIns="108000" bIns="72000" rtlCol="0" anchor="ctr">
            <a:noAutofit/>
          </a:bodyPr>
          <a:lstStyle/>
          <a:p>
            <a:pPr algn="ctr" eaLnBrk="0" hangingPunct="0">
              <a:buClr>
                <a:srgbClr val="000000"/>
              </a:buClr>
            </a:pPr>
            <a:endParaRPr lang="en-US" sz="1600" dirty="0">
              <a:solidFill>
                <a:srgbClr val="000000"/>
              </a:solidFill>
              <a:latin typeface="+mn-lt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7A116B7B-E108-87CF-C16F-6D110A599183}"/>
              </a:ext>
            </a:extLst>
          </p:cNvPr>
          <p:cNvSpPr>
            <a:spLocks/>
          </p:cNvSpPr>
          <p:nvPr/>
        </p:nvSpPr>
        <p:spPr>
          <a:xfrm>
            <a:off x="2757028" y="4651050"/>
            <a:ext cx="2616991" cy="492443"/>
          </a:xfrm>
          <a:prstGeom prst="rect">
            <a:avLst/>
          </a:prstGeom>
          <a:effectLst/>
        </p:spPr>
        <p:txBody>
          <a:bodyPr wrap="square" lIns="0" tIns="0" rIns="0" bIns="0">
            <a:spAutoFit/>
          </a:bodyPr>
          <a:lstStyle/>
          <a:p>
            <a:pPr>
              <a:buClr>
                <a:srgbClr val="000000"/>
              </a:buClr>
            </a:pPr>
            <a:r>
              <a:rPr lang="en-US" sz="1800" b="1" dirty="0">
                <a:solidFill>
                  <a:schemeClr val="tx2"/>
                </a:solidFill>
                <a:cs typeface="Arial" panose="020B0604020202020204" pitchFamily="34" charset="0"/>
              </a:rPr>
              <a:t>Heavily affected: </a:t>
            </a:r>
          </a:p>
          <a:p>
            <a:pPr>
              <a:buClr>
                <a:srgbClr val="000000"/>
              </a:buClr>
            </a:pPr>
            <a:r>
              <a:rPr lang="en-US" dirty="0">
                <a:cs typeface="Arial" panose="020B0604020202020204" pitchFamily="34" charset="0"/>
              </a:rPr>
              <a:t>RSA, ECDSA, ECDH</a:t>
            </a:r>
          </a:p>
        </p:txBody>
      </p:sp>
      <p:sp>
        <p:nvSpPr>
          <p:cNvPr id="10" name="Rectangle 14">
            <a:extLst>
              <a:ext uri="{FF2B5EF4-FFF2-40B4-BE49-F238E27FC236}">
                <a16:creationId xmlns:a16="http://schemas.microsoft.com/office/drawing/2014/main" id="{2D660E1F-5862-10BD-DFC1-A5878957657D}"/>
              </a:ext>
            </a:extLst>
          </p:cNvPr>
          <p:cNvSpPr>
            <a:spLocks/>
          </p:cNvSpPr>
          <p:nvPr/>
        </p:nvSpPr>
        <p:spPr>
          <a:xfrm>
            <a:off x="5667988" y="4651050"/>
            <a:ext cx="2068197" cy="492443"/>
          </a:xfrm>
          <a:prstGeom prst="rect">
            <a:avLst/>
          </a:prstGeom>
          <a:effectLst/>
        </p:spPr>
        <p:txBody>
          <a:bodyPr wrap="square" lIns="0" tIns="0" rIns="0" bIns="0">
            <a:spAutoFit/>
          </a:bodyPr>
          <a:lstStyle/>
          <a:p>
            <a:pPr>
              <a:buClr>
                <a:srgbClr val="000000"/>
              </a:buClr>
            </a:pPr>
            <a:r>
              <a:rPr lang="en-US" sz="1800" b="1" dirty="0">
                <a:solidFill>
                  <a:srgbClr val="6CB4AD"/>
                </a:solidFill>
                <a:cs typeface="Arial" panose="020B0604020202020204" pitchFamily="34" charset="0"/>
              </a:rPr>
              <a:t>Affected: </a:t>
            </a:r>
          </a:p>
          <a:p>
            <a:pPr>
              <a:buClr>
                <a:srgbClr val="000000"/>
              </a:buClr>
            </a:pPr>
            <a:r>
              <a:rPr lang="en-US" dirty="0">
                <a:cs typeface="Arial" panose="020B0604020202020204" pitchFamily="34" charset="0"/>
              </a:rPr>
              <a:t>AES-128, 3DES</a:t>
            </a:r>
          </a:p>
        </p:txBody>
      </p:sp>
      <p:sp>
        <p:nvSpPr>
          <p:cNvPr id="11" name="Rectangle 16">
            <a:extLst>
              <a:ext uri="{FF2B5EF4-FFF2-40B4-BE49-F238E27FC236}">
                <a16:creationId xmlns:a16="http://schemas.microsoft.com/office/drawing/2014/main" id="{58A78BC6-234E-F227-0DE3-1A875D2DA230}"/>
              </a:ext>
            </a:extLst>
          </p:cNvPr>
          <p:cNvSpPr/>
          <p:nvPr/>
        </p:nvSpPr>
        <p:spPr>
          <a:xfrm>
            <a:off x="334428" y="4149081"/>
            <a:ext cx="2145220" cy="1711827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txBody>
          <a:bodyPr wrap="none" lIns="108000" tIns="72000" rIns="108000" bIns="72000" anchor="ctr" anchorCtr="0">
            <a:no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+mn-lt"/>
                <a:ea typeface="Verdana" pitchFamily="34" charset="0"/>
                <a:cs typeface="Arial" panose="020B0604020202020204" pitchFamily="34" charset="0"/>
              </a:rPr>
              <a:t>Quantum world</a:t>
            </a:r>
          </a:p>
          <a:p>
            <a:r>
              <a:rPr lang="en-US" dirty="0">
                <a:solidFill>
                  <a:schemeClr val="bg1"/>
                </a:solidFill>
                <a:latin typeface="+mn-lt"/>
                <a:ea typeface="Verdana" pitchFamily="34" charset="0"/>
                <a:cs typeface="Arial" panose="020B0604020202020204" pitchFamily="34" charset="0"/>
              </a:rPr>
              <a:t>(in 10 – 20 years)</a:t>
            </a:r>
            <a:endParaRPr lang="en-US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Rectangle 17">
            <a:extLst>
              <a:ext uri="{FF2B5EF4-FFF2-40B4-BE49-F238E27FC236}">
                <a16:creationId xmlns:a16="http://schemas.microsoft.com/office/drawing/2014/main" id="{87DA807D-E53F-C138-393D-EBAD4733CB56}"/>
              </a:ext>
            </a:extLst>
          </p:cNvPr>
          <p:cNvSpPr>
            <a:spLocks/>
          </p:cNvSpPr>
          <p:nvPr/>
        </p:nvSpPr>
        <p:spPr>
          <a:xfrm>
            <a:off x="7991511" y="4651050"/>
            <a:ext cx="3769119" cy="707886"/>
          </a:xfrm>
          <a:prstGeom prst="rect">
            <a:avLst/>
          </a:prstGeom>
          <a:effectLst/>
        </p:spPr>
        <p:txBody>
          <a:bodyPr wrap="square" lIns="0" tIns="0" rIns="0" bIns="0">
            <a:spAutoFit/>
          </a:bodyPr>
          <a:lstStyle/>
          <a:p>
            <a:pPr>
              <a:buClr>
                <a:srgbClr val="000000"/>
              </a:buClr>
            </a:pPr>
            <a:r>
              <a:rPr lang="en-US" sz="1800" b="1" dirty="0">
                <a:cs typeface="Arial" panose="020B0604020202020204" pitchFamily="34" charset="0"/>
              </a:rPr>
              <a:t>Currently considered safe: </a:t>
            </a:r>
          </a:p>
          <a:p>
            <a:pPr>
              <a:buClr>
                <a:srgbClr val="000000"/>
              </a:buClr>
            </a:pPr>
            <a:r>
              <a:rPr lang="en-US" dirty="0">
                <a:cs typeface="Arial" panose="020B0604020202020204" pitchFamily="34" charset="0"/>
              </a:rPr>
              <a:t>AES-256, SHA256</a:t>
            </a:r>
            <a:r>
              <a:rPr lang="en-US" baseline="30000" dirty="0">
                <a:cs typeface="Arial" panose="020B0604020202020204" pitchFamily="34" charset="0"/>
              </a:rPr>
              <a:t>1</a:t>
            </a:r>
            <a:r>
              <a:rPr lang="en-US" dirty="0">
                <a:cs typeface="Arial" panose="020B0604020202020204" pitchFamily="34" charset="0"/>
              </a:rPr>
              <a:t>, SHA512, </a:t>
            </a:r>
            <a:br>
              <a:rPr lang="en-US" dirty="0">
                <a:cs typeface="Arial" panose="020B0604020202020204" pitchFamily="34" charset="0"/>
              </a:rPr>
            </a:br>
            <a:r>
              <a:rPr lang="en-US" dirty="0">
                <a:cs typeface="Arial" panose="020B0604020202020204" pitchFamily="34" charset="0"/>
              </a:rPr>
              <a:t>SHAKE256, SHA3-512, …</a:t>
            </a:r>
          </a:p>
        </p:txBody>
      </p:sp>
      <p:sp>
        <p:nvSpPr>
          <p:cNvPr id="13" name="Rectangle 1">
            <a:extLst>
              <a:ext uri="{FF2B5EF4-FFF2-40B4-BE49-F238E27FC236}">
                <a16:creationId xmlns:a16="http://schemas.microsoft.com/office/drawing/2014/main" id="{1961DA20-860F-671E-24D5-A68F565163C2}"/>
              </a:ext>
            </a:extLst>
          </p:cNvPr>
          <p:cNvSpPr/>
          <p:nvPr/>
        </p:nvSpPr>
        <p:spPr bwMode="auto">
          <a:xfrm>
            <a:off x="347148" y="1268413"/>
            <a:ext cx="5186331" cy="776500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>
              <a:spcBef>
                <a:spcPts val="0"/>
              </a:spcBef>
              <a:buClr>
                <a:srgbClr val="E30034"/>
              </a:buClr>
              <a:buSzPct val="120000"/>
            </a:pPr>
            <a:r>
              <a:rPr lang="en-US" b="1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A</a:t>
            </a: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symmetric</a:t>
            </a:r>
            <a:r>
              <a:rPr lang="en-US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 cryptosystems (RSA/ECC):</a:t>
            </a:r>
            <a:br>
              <a:rPr lang="en-US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</a:br>
            <a:r>
              <a:rPr lang="en-US" b="1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ompletely broken</a:t>
            </a:r>
            <a:r>
              <a:rPr lang="en-US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 using </a:t>
            </a:r>
            <a:r>
              <a:rPr lang="en-US" b="1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Shor’s algorithm</a:t>
            </a:r>
          </a:p>
        </p:txBody>
      </p:sp>
      <p:sp>
        <p:nvSpPr>
          <p:cNvPr id="14" name="Rectangle 20">
            <a:extLst>
              <a:ext uri="{FF2B5EF4-FFF2-40B4-BE49-F238E27FC236}">
                <a16:creationId xmlns:a16="http://schemas.microsoft.com/office/drawing/2014/main" id="{36AF86CE-74AB-8607-17A1-B7ED1EC83685}"/>
              </a:ext>
            </a:extLst>
          </p:cNvPr>
          <p:cNvSpPr>
            <a:spLocks/>
          </p:cNvSpPr>
          <p:nvPr/>
        </p:nvSpPr>
        <p:spPr bwMode="auto">
          <a:xfrm>
            <a:off x="347148" y="2152699"/>
            <a:ext cx="2135060" cy="429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>
              <a:spcBef>
                <a:spcPts val="0"/>
              </a:spcBef>
              <a:buClr>
                <a:srgbClr val="E30034"/>
              </a:buClr>
              <a:buSzPct val="120000"/>
            </a:pPr>
            <a:r>
              <a:rPr lang="en-US" b="1" dirty="0">
                <a:ea typeface="Verdana" pitchFamily="34" charset="0"/>
                <a:cs typeface="Arial" panose="020B0604020202020204" pitchFamily="34" charset="0"/>
              </a:rPr>
              <a:t>Currently</a:t>
            </a:r>
          </a:p>
        </p:txBody>
      </p:sp>
      <p:sp>
        <p:nvSpPr>
          <p:cNvPr id="15" name="Rectangle 21">
            <a:extLst>
              <a:ext uri="{FF2B5EF4-FFF2-40B4-BE49-F238E27FC236}">
                <a16:creationId xmlns:a16="http://schemas.microsoft.com/office/drawing/2014/main" id="{DE04C4DB-CD8C-55F8-3D85-4C4DE1101A22}"/>
              </a:ext>
            </a:extLst>
          </p:cNvPr>
          <p:cNvSpPr>
            <a:spLocks/>
          </p:cNvSpPr>
          <p:nvPr/>
        </p:nvSpPr>
        <p:spPr bwMode="auto">
          <a:xfrm>
            <a:off x="3381141" y="2152699"/>
            <a:ext cx="2155489" cy="429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>
              <a:spcBef>
                <a:spcPts val="0"/>
              </a:spcBef>
              <a:buClr>
                <a:srgbClr val="E30034"/>
              </a:buClr>
              <a:buSzPct val="120000"/>
            </a:pPr>
            <a:r>
              <a:rPr lang="en-US" b="1" dirty="0">
                <a:ea typeface="Verdana" pitchFamily="34" charset="0"/>
                <a:cs typeface="Arial" panose="020B0604020202020204" pitchFamily="34" charset="0"/>
              </a:rPr>
              <a:t>Quantum world</a:t>
            </a: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46018F40-73CC-7F94-14C6-742306080709}"/>
              </a:ext>
            </a:extLst>
          </p:cNvPr>
          <p:cNvSpPr>
            <a:spLocks/>
          </p:cNvSpPr>
          <p:nvPr/>
        </p:nvSpPr>
        <p:spPr bwMode="auto">
          <a:xfrm>
            <a:off x="347148" y="2715403"/>
            <a:ext cx="2132500" cy="7765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>
              <a:spcBef>
                <a:spcPts val="0"/>
              </a:spcBef>
              <a:buClr>
                <a:srgbClr val="E30034"/>
              </a:buClr>
              <a:buSzPct val="120000"/>
            </a:pPr>
            <a:r>
              <a:rPr lang="en-US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ECC-256 and RSA-3072 have </a:t>
            </a:r>
            <a:r>
              <a:rPr lang="en-US" b="1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128-bit</a:t>
            </a:r>
            <a:r>
              <a:rPr lang="en-US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 security</a:t>
            </a:r>
            <a:endParaRPr lang="en-US" b="1" dirty="0">
              <a:solidFill>
                <a:schemeClr val="bg1"/>
              </a:solidFill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4">
            <a:extLst>
              <a:ext uri="{FF2B5EF4-FFF2-40B4-BE49-F238E27FC236}">
                <a16:creationId xmlns:a16="http://schemas.microsoft.com/office/drawing/2014/main" id="{FA902B39-1618-5340-0F91-B41784B4FEDF}"/>
              </a:ext>
            </a:extLst>
          </p:cNvPr>
          <p:cNvSpPr>
            <a:spLocks/>
          </p:cNvSpPr>
          <p:nvPr/>
        </p:nvSpPr>
        <p:spPr bwMode="auto">
          <a:xfrm>
            <a:off x="3361400" y="2715403"/>
            <a:ext cx="2175231" cy="7765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>
              <a:spcBef>
                <a:spcPts val="0"/>
              </a:spcBef>
              <a:buClr>
                <a:srgbClr val="E30034"/>
              </a:buClr>
              <a:buSzPct val="120000"/>
            </a:pPr>
            <a:r>
              <a:rPr lang="en-US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Almost </a:t>
            </a:r>
            <a:r>
              <a:rPr lang="en-US" b="1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no </a:t>
            </a:r>
            <a:r>
              <a:rPr lang="en-US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security</a:t>
            </a:r>
            <a:endParaRPr lang="en-US" b="1" dirty="0">
              <a:solidFill>
                <a:schemeClr val="bg1"/>
              </a:solidFill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5">
            <a:extLst>
              <a:ext uri="{FF2B5EF4-FFF2-40B4-BE49-F238E27FC236}">
                <a16:creationId xmlns:a16="http://schemas.microsoft.com/office/drawing/2014/main" id="{25FBC718-B5AE-4988-2B04-FC5BFF08A939}"/>
              </a:ext>
            </a:extLst>
          </p:cNvPr>
          <p:cNvSpPr/>
          <p:nvPr/>
        </p:nvSpPr>
        <p:spPr bwMode="auto">
          <a:xfrm>
            <a:off x="6670708" y="1268413"/>
            <a:ext cx="5186331" cy="776500"/>
          </a:xfrm>
          <a:prstGeom prst="rect">
            <a:avLst/>
          </a:prstGeom>
          <a:solidFill>
            <a:srgbClr val="6CB4AD"/>
          </a:solidFill>
          <a:ln w="9525">
            <a:solidFill>
              <a:srgbClr val="6CB4AD"/>
            </a:solidFill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>
              <a:spcBef>
                <a:spcPts val="0"/>
              </a:spcBef>
              <a:buClr>
                <a:srgbClr val="E30034"/>
              </a:buClr>
              <a:buSzPct val="120000"/>
            </a:pPr>
            <a:r>
              <a:rPr lang="en-US" b="1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S</a:t>
            </a: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ymmetric</a:t>
            </a:r>
            <a:r>
              <a:rPr lang="en-US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 cryptography: </a:t>
            </a:r>
          </a:p>
          <a:p>
            <a:pPr eaLnBrk="0" hangingPunct="0">
              <a:spcBef>
                <a:spcPts val="0"/>
              </a:spcBef>
              <a:buClr>
                <a:srgbClr val="E30034"/>
              </a:buClr>
              <a:buSzPct val="120000"/>
            </a:pPr>
            <a:r>
              <a:rPr lang="en-US" b="1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Security levels </a:t>
            </a: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halved </a:t>
            </a:r>
            <a:r>
              <a:rPr lang="en-US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by </a:t>
            </a:r>
            <a:r>
              <a:rPr lang="en-US" b="1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Grover's</a:t>
            </a:r>
            <a:r>
              <a:rPr lang="en-US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algorithm</a:t>
            </a:r>
            <a:endParaRPr lang="en-US" dirty="0">
              <a:solidFill>
                <a:schemeClr val="bg1"/>
              </a:solidFill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6">
            <a:extLst>
              <a:ext uri="{FF2B5EF4-FFF2-40B4-BE49-F238E27FC236}">
                <a16:creationId xmlns:a16="http://schemas.microsoft.com/office/drawing/2014/main" id="{3ECBA0DF-EADC-7050-D86A-98A873B88131}"/>
              </a:ext>
            </a:extLst>
          </p:cNvPr>
          <p:cNvSpPr>
            <a:spLocks/>
          </p:cNvSpPr>
          <p:nvPr/>
        </p:nvSpPr>
        <p:spPr bwMode="auto">
          <a:xfrm>
            <a:off x="6670707" y="2152699"/>
            <a:ext cx="2155489" cy="429202"/>
          </a:xfrm>
          <a:prstGeom prst="rect">
            <a:avLst/>
          </a:prstGeom>
          <a:solidFill>
            <a:schemeClr val="bg1"/>
          </a:solidFill>
          <a:ln w="9525">
            <a:solidFill>
              <a:srgbClr val="6CB4AD"/>
            </a:solidFill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>
              <a:spcBef>
                <a:spcPts val="0"/>
              </a:spcBef>
              <a:buClr>
                <a:srgbClr val="E30034"/>
              </a:buClr>
              <a:buSzPct val="120000"/>
            </a:pPr>
            <a:r>
              <a:rPr lang="en-US" b="1" dirty="0">
                <a:ea typeface="Verdana" pitchFamily="34" charset="0"/>
                <a:cs typeface="Arial" panose="020B0604020202020204" pitchFamily="34" charset="0"/>
              </a:rPr>
              <a:t>Currently</a:t>
            </a:r>
          </a:p>
        </p:txBody>
      </p:sp>
      <p:sp>
        <p:nvSpPr>
          <p:cNvPr id="20" name="Rectangle 27">
            <a:extLst>
              <a:ext uri="{FF2B5EF4-FFF2-40B4-BE49-F238E27FC236}">
                <a16:creationId xmlns:a16="http://schemas.microsoft.com/office/drawing/2014/main" id="{E1C3DDE5-0BCC-ACE7-6A26-F681FBED826A}"/>
              </a:ext>
            </a:extLst>
          </p:cNvPr>
          <p:cNvSpPr>
            <a:spLocks/>
          </p:cNvSpPr>
          <p:nvPr/>
        </p:nvSpPr>
        <p:spPr bwMode="auto">
          <a:xfrm>
            <a:off x="9701550" y="2152699"/>
            <a:ext cx="2155489" cy="429202"/>
          </a:xfrm>
          <a:prstGeom prst="rect">
            <a:avLst/>
          </a:prstGeom>
          <a:solidFill>
            <a:schemeClr val="bg1"/>
          </a:solidFill>
          <a:ln w="9525">
            <a:solidFill>
              <a:srgbClr val="6CB4AD"/>
            </a:solidFill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>
              <a:spcBef>
                <a:spcPts val="0"/>
              </a:spcBef>
              <a:buClr>
                <a:srgbClr val="E30034"/>
              </a:buClr>
              <a:buSzPct val="120000"/>
            </a:pPr>
            <a:r>
              <a:rPr lang="en-US" b="1" dirty="0">
                <a:ea typeface="Verdana" pitchFamily="34" charset="0"/>
                <a:cs typeface="Arial" panose="020B0604020202020204" pitchFamily="34" charset="0"/>
              </a:rPr>
              <a:t>Quantum world</a:t>
            </a:r>
          </a:p>
        </p:txBody>
      </p:sp>
      <p:sp>
        <p:nvSpPr>
          <p:cNvPr id="21" name="Rectangle 28">
            <a:extLst>
              <a:ext uri="{FF2B5EF4-FFF2-40B4-BE49-F238E27FC236}">
                <a16:creationId xmlns:a16="http://schemas.microsoft.com/office/drawing/2014/main" id="{FB636519-7B19-FACF-B9FA-18D1B89DFBD5}"/>
              </a:ext>
            </a:extLst>
          </p:cNvPr>
          <p:cNvSpPr>
            <a:spLocks/>
          </p:cNvSpPr>
          <p:nvPr/>
        </p:nvSpPr>
        <p:spPr bwMode="auto">
          <a:xfrm>
            <a:off x="6670707" y="2715403"/>
            <a:ext cx="2180138" cy="776500"/>
          </a:xfrm>
          <a:prstGeom prst="rect">
            <a:avLst/>
          </a:prstGeom>
          <a:solidFill>
            <a:srgbClr val="6CB4AD"/>
          </a:solidFill>
          <a:ln w="9525">
            <a:solidFill>
              <a:srgbClr val="6CB4AD"/>
            </a:solidFill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>
              <a:spcBef>
                <a:spcPts val="0"/>
              </a:spcBef>
              <a:buClr>
                <a:srgbClr val="E30034"/>
              </a:buClr>
              <a:buSzPct val="120000"/>
            </a:pPr>
            <a:r>
              <a:rPr lang="en-US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AES-128 has </a:t>
            </a:r>
            <a:r>
              <a:rPr lang="en-US" b="1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128-bit</a:t>
            </a:r>
            <a:r>
              <a:rPr lang="en-US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 security</a:t>
            </a:r>
            <a:endParaRPr lang="en-US" b="1" dirty="0">
              <a:solidFill>
                <a:schemeClr val="bg1"/>
              </a:solidFill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9">
            <a:extLst>
              <a:ext uri="{FF2B5EF4-FFF2-40B4-BE49-F238E27FC236}">
                <a16:creationId xmlns:a16="http://schemas.microsoft.com/office/drawing/2014/main" id="{31BADAA2-EC9D-299E-4DCD-E51F1E4BFC74}"/>
              </a:ext>
            </a:extLst>
          </p:cNvPr>
          <p:cNvSpPr>
            <a:spLocks/>
          </p:cNvSpPr>
          <p:nvPr/>
        </p:nvSpPr>
        <p:spPr bwMode="auto">
          <a:xfrm>
            <a:off x="9701549" y="2715403"/>
            <a:ext cx="2155490" cy="776500"/>
          </a:xfrm>
          <a:prstGeom prst="rect">
            <a:avLst/>
          </a:prstGeom>
          <a:solidFill>
            <a:srgbClr val="6CB4AD"/>
          </a:solidFill>
          <a:ln w="9525">
            <a:solidFill>
              <a:srgbClr val="6CB4AD"/>
            </a:solidFill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>
              <a:spcBef>
                <a:spcPts val="0"/>
              </a:spcBef>
              <a:buClr>
                <a:srgbClr val="E30034"/>
              </a:buClr>
              <a:buSzPct val="120000"/>
            </a:pPr>
            <a:r>
              <a:rPr lang="en-US" b="1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64-bit</a:t>
            </a:r>
            <a:r>
              <a:rPr lang="en-US" dirty="0">
                <a:solidFill>
                  <a:schemeClr val="bg1"/>
                </a:solidFill>
                <a:ea typeface="Verdana" pitchFamily="34" charset="0"/>
                <a:cs typeface="Arial" panose="020B0604020202020204" pitchFamily="34" charset="0"/>
              </a:rPr>
              <a:t> security</a:t>
            </a:r>
            <a:endParaRPr lang="en-US" b="1" dirty="0">
              <a:solidFill>
                <a:schemeClr val="bg1"/>
              </a:solidFill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3" name="Arrow: Chevron 2">
            <a:extLst>
              <a:ext uri="{FF2B5EF4-FFF2-40B4-BE49-F238E27FC236}">
                <a16:creationId xmlns:a16="http://schemas.microsoft.com/office/drawing/2014/main" id="{32639955-EA86-661F-229B-8124BD413076}"/>
              </a:ext>
            </a:extLst>
          </p:cNvPr>
          <p:cNvSpPr>
            <a:spLocks/>
          </p:cNvSpPr>
          <p:nvPr/>
        </p:nvSpPr>
        <p:spPr bwMode="auto">
          <a:xfrm>
            <a:off x="2787734" y="2887629"/>
            <a:ext cx="287529" cy="432048"/>
          </a:xfrm>
          <a:prstGeom prst="chevron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/>
            <a:endParaRPr lang="en-US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24" name="Arrow: Chevron 31">
            <a:extLst>
              <a:ext uri="{FF2B5EF4-FFF2-40B4-BE49-F238E27FC236}">
                <a16:creationId xmlns:a16="http://schemas.microsoft.com/office/drawing/2014/main" id="{8937DB59-20F9-82AC-9E20-B3A0687CA3B6}"/>
              </a:ext>
            </a:extLst>
          </p:cNvPr>
          <p:cNvSpPr>
            <a:spLocks/>
          </p:cNvSpPr>
          <p:nvPr/>
        </p:nvSpPr>
        <p:spPr bwMode="auto">
          <a:xfrm>
            <a:off x="9161736" y="2887629"/>
            <a:ext cx="287529" cy="432048"/>
          </a:xfrm>
          <a:prstGeom prst="chevron">
            <a:avLst/>
          </a:prstGeom>
          <a:solidFill>
            <a:srgbClr val="6CB4AD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/>
            <a:endParaRPr lang="en-US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25" name="AutoShape 12">
            <a:extLst>
              <a:ext uri="{FF2B5EF4-FFF2-40B4-BE49-F238E27FC236}">
                <a16:creationId xmlns:a16="http://schemas.microsoft.com/office/drawing/2014/main" id="{B0737997-8D9B-1478-B532-8BE05B71465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0247" y="6242829"/>
            <a:ext cx="10652297" cy="138499"/>
          </a:xfrm>
          <a:prstGeom prst="rect">
            <a:avLst/>
          </a:prstGeom>
          <a:noFill/>
          <a:ln w="28575" algn="ctr">
            <a:noFill/>
            <a:round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3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3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3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3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fontAlgn="auto">
              <a:buClr>
                <a:srgbClr val="000000"/>
              </a:buClr>
              <a:defRPr/>
            </a:pPr>
            <a:r>
              <a:rPr lang="en-US" sz="900" kern="0" dirty="0"/>
              <a:t>1 Preimage resistance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26716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4880D5E-EFA3-E7B5-2718-65EFC5CBE9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348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E269384-5F40-6659-A753-D2AC40C2B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nsidered timeline</a:t>
            </a:r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89730D0E-E9D7-F75E-3005-06E6233CA3B5}"/>
              </a:ext>
            </a:extLst>
          </p:cNvPr>
          <p:cNvGrpSpPr>
            <a:grpSpLocks/>
          </p:cNvGrpSpPr>
          <p:nvPr/>
        </p:nvGrpSpPr>
        <p:grpSpPr>
          <a:xfrm>
            <a:off x="334432" y="1271660"/>
            <a:ext cx="11522606" cy="357140"/>
            <a:chOff x="334432" y="1271660"/>
            <a:chExt cx="5762495" cy="357140"/>
          </a:xfrm>
        </p:grpSpPr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64CF5170-246F-8333-3A33-F5D73BFC8ED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34432" y="1271660"/>
              <a:ext cx="576156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noAutofit/>
            </a:bodyPr>
            <a:lstStyle/>
            <a:p>
              <a:pPr defTabSz="914377" fontAlgn="auto">
                <a:spcAft>
                  <a:spcPts val="0"/>
                </a:spcAft>
                <a:buClr>
                  <a:srgbClr val="FFFFFF"/>
                </a:buClr>
                <a:defRPr/>
              </a:pPr>
              <a:r>
                <a:rPr lang="en-US" sz="18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Devices with over 10 years lifecycle must be prepared for the quantum computing age</a:t>
              </a:r>
            </a:p>
          </p:txBody>
        </p:sp>
        <p:cxnSp>
          <p:nvCxnSpPr>
            <p:cNvPr id="38" name="Gerade Verbindung 33">
              <a:extLst>
                <a:ext uri="{FF2B5EF4-FFF2-40B4-BE49-F238E27FC236}">
                  <a16:creationId xmlns:a16="http://schemas.microsoft.com/office/drawing/2014/main" id="{7764E78F-8E0E-9FFF-D1E3-617DDEFA4B15}"/>
                </a:ext>
              </a:extLst>
            </p:cNvPr>
            <p:cNvCxnSpPr>
              <a:cxnSpLocks/>
            </p:cNvCxnSpPr>
            <p:nvPr/>
          </p:nvCxnSpPr>
          <p:spPr>
            <a:xfrm>
              <a:off x="335360" y="1628800"/>
              <a:ext cx="5761567" cy="0"/>
            </a:xfrm>
            <a:prstGeom prst="line">
              <a:avLst/>
            </a:prstGeom>
            <a:ln w="9525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Textfeld 20">
            <a:extLst>
              <a:ext uri="{FF2B5EF4-FFF2-40B4-BE49-F238E27FC236}">
                <a16:creationId xmlns:a16="http://schemas.microsoft.com/office/drawing/2014/main" id="{864BF8D7-02DD-4809-F1CC-479D173392B6}"/>
              </a:ext>
            </a:extLst>
          </p:cNvPr>
          <p:cNvSpPr txBox="1"/>
          <p:nvPr/>
        </p:nvSpPr>
        <p:spPr bwMode="auto">
          <a:xfrm>
            <a:off x="10480545" y="5745264"/>
            <a:ext cx="45525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600" kern="0" baseline="0">
                <a:latin typeface="+mn-lt"/>
                <a:ea typeface="+mn-ea"/>
                <a:cs typeface="+mn-cs"/>
              </a:rPr>
              <a:t>2050</a:t>
            </a:r>
            <a:endParaRPr lang="en-US" sz="16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6" name="Textfeld 21">
            <a:extLst>
              <a:ext uri="{FF2B5EF4-FFF2-40B4-BE49-F238E27FC236}">
                <a16:creationId xmlns:a16="http://schemas.microsoft.com/office/drawing/2014/main" id="{8E339378-58AD-EB4D-E006-CBACFFCB40B9}"/>
              </a:ext>
            </a:extLst>
          </p:cNvPr>
          <p:cNvSpPr txBox="1"/>
          <p:nvPr/>
        </p:nvSpPr>
        <p:spPr bwMode="auto">
          <a:xfrm>
            <a:off x="8169764" y="5745264"/>
            <a:ext cx="45525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600" kern="0" baseline="0">
                <a:latin typeface="+mn-lt"/>
                <a:ea typeface="+mn-ea"/>
                <a:cs typeface="+mn-cs"/>
              </a:rPr>
              <a:t>2040</a:t>
            </a:r>
            <a:endParaRPr lang="en-US" sz="16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7" name="Textfeld 22">
            <a:extLst>
              <a:ext uri="{FF2B5EF4-FFF2-40B4-BE49-F238E27FC236}">
                <a16:creationId xmlns:a16="http://schemas.microsoft.com/office/drawing/2014/main" id="{6BA69EF9-FDD4-0CE3-9B4E-8EB1298E32A4}"/>
              </a:ext>
            </a:extLst>
          </p:cNvPr>
          <p:cNvSpPr txBox="1"/>
          <p:nvPr/>
        </p:nvSpPr>
        <p:spPr bwMode="auto">
          <a:xfrm>
            <a:off x="7014374" y="5745264"/>
            <a:ext cx="45525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600" b="1" kern="0" baseline="0">
                <a:latin typeface="+mn-lt"/>
                <a:ea typeface="+mn-ea"/>
                <a:cs typeface="+mn-cs"/>
              </a:rPr>
              <a:t>2035</a:t>
            </a:r>
            <a:endParaRPr lang="en-US" sz="1600" b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8" name="Textfeld 23">
            <a:extLst>
              <a:ext uri="{FF2B5EF4-FFF2-40B4-BE49-F238E27FC236}">
                <a16:creationId xmlns:a16="http://schemas.microsoft.com/office/drawing/2014/main" id="{AD7274EF-F970-59B4-C58D-60D11D057481}"/>
              </a:ext>
            </a:extLst>
          </p:cNvPr>
          <p:cNvSpPr txBox="1"/>
          <p:nvPr/>
        </p:nvSpPr>
        <p:spPr bwMode="auto">
          <a:xfrm>
            <a:off x="5858983" y="5745264"/>
            <a:ext cx="45525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600" kern="0" baseline="0">
                <a:latin typeface="+mn-lt"/>
                <a:ea typeface="+mn-ea"/>
                <a:cs typeface="+mn-cs"/>
              </a:rPr>
              <a:t>2030</a:t>
            </a:r>
            <a:endParaRPr lang="en-US" sz="16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9" name="Textfeld 24">
            <a:extLst>
              <a:ext uri="{FF2B5EF4-FFF2-40B4-BE49-F238E27FC236}">
                <a16:creationId xmlns:a16="http://schemas.microsoft.com/office/drawing/2014/main" id="{0C1BEBC9-643A-0D77-5676-EB83428B65DE}"/>
              </a:ext>
            </a:extLst>
          </p:cNvPr>
          <p:cNvSpPr txBox="1"/>
          <p:nvPr/>
        </p:nvSpPr>
        <p:spPr bwMode="auto">
          <a:xfrm>
            <a:off x="4032566" y="5745264"/>
            <a:ext cx="45525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600" kern="0" baseline="0">
                <a:latin typeface="+mn-lt"/>
                <a:ea typeface="+mn-ea"/>
                <a:cs typeface="+mn-cs"/>
              </a:rPr>
              <a:t>2022</a:t>
            </a:r>
            <a:endParaRPr lang="en-US" sz="16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50" name="Rechteck 46">
            <a:extLst>
              <a:ext uri="{FF2B5EF4-FFF2-40B4-BE49-F238E27FC236}">
                <a16:creationId xmlns:a16="http://schemas.microsoft.com/office/drawing/2014/main" id="{C40C6E9B-67AF-AF89-D38C-196CD15F43B0}"/>
              </a:ext>
            </a:extLst>
          </p:cNvPr>
          <p:cNvSpPr/>
          <p:nvPr/>
        </p:nvSpPr>
        <p:spPr bwMode="auto">
          <a:xfrm>
            <a:off x="7252853" y="1902800"/>
            <a:ext cx="4604185" cy="3677377"/>
          </a:xfrm>
          <a:prstGeom prst="rect">
            <a:avLst/>
          </a:prstGeom>
          <a:solidFill>
            <a:srgbClr val="DCD5D7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51" name="Freihandform: Form 26">
            <a:extLst>
              <a:ext uri="{FF2B5EF4-FFF2-40B4-BE49-F238E27FC236}">
                <a16:creationId xmlns:a16="http://schemas.microsoft.com/office/drawing/2014/main" id="{5DF78528-4D21-E95F-BB7C-D1C9D1C84B85}"/>
              </a:ext>
            </a:extLst>
          </p:cNvPr>
          <p:cNvSpPr>
            <a:spLocks/>
          </p:cNvSpPr>
          <p:nvPr/>
        </p:nvSpPr>
        <p:spPr bwMode="auto">
          <a:xfrm>
            <a:off x="3062555" y="2741107"/>
            <a:ext cx="785004" cy="2769080"/>
          </a:xfrm>
          <a:custGeom>
            <a:avLst/>
            <a:gdLst>
              <a:gd name="connsiteX0" fmla="*/ 1043796 w 1061049"/>
              <a:gd name="connsiteY0" fmla="*/ 0 h 2769080"/>
              <a:gd name="connsiteX1" fmla="*/ 276045 w 1061049"/>
              <a:gd name="connsiteY1" fmla="*/ 0 h 2769080"/>
              <a:gd name="connsiteX2" fmla="*/ 276045 w 1061049"/>
              <a:gd name="connsiteY2" fmla="*/ 1138687 h 2769080"/>
              <a:gd name="connsiteX3" fmla="*/ 0 w 1061049"/>
              <a:gd name="connsiteY3" fmla="*/ 1414732 h 2769080"/>
              <a:gd name="connsiteX4" fmla="*/ 276045 w 1061049"/>
              <a:gd name="connsiteY4" fmla="*/ 1673525 h 2769080"/>
              <a:gd name="connsiteX5" fmla="*/ 276045 w 1061049"/>
              <a:gd name="connsiteY5" fmla="*/ 2769080 h 2769080"/>
              <a:gd name="connsiteX6" fmla="*/ 1061049 w 1061049"/>
              <a:gd name="connsiteY6" fmla="*/ 2769080 h 2769080"/>
              <a:gd name="connsiteX0" fmla="*/ 767751 w 785004"/>
              <a:gd name="connsiteY0" fmla="*/ 0 h 2769080"/>
              <a:gd name="connsiteX1" fmla="*/ 0 w 785004"/>
              <a:gd name="connsiteY1" fmla="*/ 0 h 2769080"/>
              <a:gd name="connsiteX2" fmla="*/ 0 w 785004"/>
              <a:gd name="connsiteY2" fmla="*/ 1138687 h 2769080"/>
              <a:gd name="connsiteX3" fmla="*/ 0 w 785004"/>
              <a:gd name="connsiteY3" fmla="*/ 1673525 h 2769080"/>
              <a:gd name="connsiteX4" fmla="*/ 0 w 785004"/>
              <a:gd name="connsiteY4" fmla="*/ 2769080 h 2769080"/>
              <a:gd name="connsiteX5" fmla="*/ 785004 w 785004"/>
              <a:gd name="connsiteY5" fmla="*/ 2769080 h 276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004" h="2769080">
                <a:moveTo>
                  <a:pt x="767751" y="0"/>
                </a:moveTo>
                <a:lnTo>
                  <a:pt x="0" y="0"/>
                </a:lnTo>
                <a:lnTo>
                  <a:pt x="0" y="1138687"/>
                </a:lnTo>
                <a:lnTo>
                  <a:pt x="0" y="1673525"/>
                </a:lnTo>
                <a:lnTo>
                  <a:pt x="0" y="2769080"/>
                </a:lnTo>
                <a:lnTo>
                  <a:pt x="785004" y="2769080"/>
                </a:lnTo>
              </a:path>
            </a:pathLst>
          </a:cu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Textfeld 27">
            <a:extLst>
              <a:ext uri="{FF2B5EF4-FFF2-40B4-BE49-F238E27FC236}">
                <a16:creationId xmlns:a16="http://schemas.microsoft.com/office/drawing/2014/main" id="{B95E77F4-2BF7-4406-5D67-24BBD83FECFD}"/>
              </a:ext>
            </a:extLst>
          </p:cNvPr>
          <p:cNvSpPr txBox="1">
            <a:spLocks/>
          </p:cNvSpPr>
          <p:nvPr/>
        </p:nvSpPr>
        <p:spPr bwMode="auto">
          <a:xfrm>
            <a:off x="334432" y="3848648"/>
            <a:ext cx="221492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defTabSz="914377" fontAlgn="auto">
              <a:spcAft>
                <a:spcPts val="0"/>
              </a:spcAft>
              <a:buClr>
                <a:srgbClr val="FFFFFF"/>
              </a:buClr>
              <a:defRPr sz="1800" b="1" ker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Need of PQC </a:t>
            </a:r>
            <a:br>
              <a:rPr lang="en-US" dirty="0"/>
            </a:br>
            <a:r>
              <a:rPr lang="en-US" dirty="0"/>
              <a:t>Future Proof TPM</a:t>
            </a:r>
          </a:p>
        </p:txBody>
      </p:sp>
      <p:pic>
        <p:nvPicPr>
          <p:cNvPr id="53" name="Grafik 41">
            <a:extLst>
              <a:ext uri="{FF2B5EF4-FFF2-40B4-BE49-F238E27FC236}">
                <a16:creationId xmlns:a16="http://schemas.microsoft.com/office/drawing/2014/main" id="{9D8CD6A3-1E6E-CC80-6B46-0F04A8B04A9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0746" y="2756410"/>
            <a:ext cx="1788398" cy="1937540"/>
          </a:xfrm>
          <a:prstGeom prst="rect">
            <a:avLst/>
          </a:prstGeom>
        </p:spPr>
      </p:pic>
      <p:sp>
        <p:nvSpPr>
          <p:cNvPr id="54" name="Rechteck 42">
            <a:extLst>
              <a:ext uri="{FF2B5EF4-FFF2-40B4-BE49-F238E27FC236}">
                <a16:creationId xmlns:a16="http://schemas.microsoft.com/office/drawing/2014/main" id="{CCF340A6-E814-628C-9185-FF43AA974CEE}"/>
              </a:ext>
            </a:extLst>
          </p:cNvPr>
          <p:cNvSpPr/>
          <p:nvPr/>
        </p:nvSpPr>
        <p:spPr bwMode="auto">
          <a:xfrm>
            <a:off x="6096397" y="1902800"/>
            <a:ext cx="1156456" cy="3677377"/>
          </a:xfrm>
          <a:prstGeom prst="rect">
            <a:avLst/>
          </a:prstGeom>
          <a:pattFill prst="wdUpDiag">
            <a:fgClr>
              <a:srgbClr val="D1C9CA"/>
            </a:fgClr>
            <a:bgClr>
              <a:schemeClr val="bg1"/>
            </a:bgClr>
          </a:patt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55" name="Textfeld 47">
            <a:extLst>
              <a:ext uri="{FF2B5EF4-FFF2-40B4-BE49-F238E27FC236}">
                <a16:creationId xmlns:a16="http://schemas.microsoft.com/office/drawing/2014/main" id="{388F40B7-C0E0-8877-18D6-FC113BC7AC15}"/>
              </a:ext>
            </a:extLst>
          </p:cNvPr>
          <p:cNvSpPr txBox="1"/>
          <p:nvPr/>
        </p:nvSpPr>
        <p:spPr bwMode="auto">
          <a:xfrm>
            <a:off x="7490001" y="2050196"/>
            <a:ext cx="2959143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noAutofit/>
          </a:bodyPr>
          <a:lstStyle/>
          <a:p>
            <a:pPr marR="0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600" b="1" kern="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2035</a:t>
            </a:r>
            <a:br>
              <a:rPr lang="en-US" sz="1600" b="1" kern="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en-US" sz="1200" kern="0" baseline="0">
                <a:latin typeface="+mn-lt"/>
                <a:ea typeface="+mn-ea"/>
                <a:cs typeface="+mn-cs"/>
              </a:rPr>
              <a:t>Expected availability of quantum computers</a:t>
            </a:r>
          </a:p>
          <a:p>
            <a:pPr marR="0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200" kern="0">
                <a:latin typeface="+mn-lt"/>
              </a:rPr>
              <a:t>that could be used for cryptoanalysis</a:t>
            </a:r>
            <a:endParaRPr lang="en-US" sz="12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56" name="Pfeil: nach rechts 31">
            <a:extLst>
              <a:ext uri="{FF2B5EF4-FFF2-40B4-BE49-F238E27FC236}">
                <a16:creationId xmlns:a16="http://schemas.microsoft.com/office/drawing/2014/main" id="{46F6A8A6-F3C4-7F88-C184-F99CF7221440}"/>
              </a:ext>
            </a:extLst>
          </p:cNvPr>
          <p:cNvSpPr>
            <a:spLocks/>
          </p:cNvSpPr>
          <p:nvPr/>
        </p:nvSpPr>
        <p:spPr bwMode="auto">
          <a:xfrm>
            <a:off x="4428426" y="4870024"/>
            <a:ext cx="6780539" cy="437387"/>
          </a:xfrm>
          <a:prstGeom prst="homePlate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/>
            <a:r>
              <a:rPr lang="en-US" sz="1600">
                <a:solidFill>
                  <a:schemeClr val="bg1"/>
                </a:solidFill>
                <a:latin typeface="+mn-lt"/>
              </a:rPr>
              <a:t>Components in field for 20 – 30 years</a:t>
            </a: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" name="Pfeil: nach rechts 28">
            <a:extLst>
              <a:ext uri="{FF2B5EF4-FFF2-40B4-BE49-F238E27FC236}">
                <a16:creationId xmlns:a16="http://schemas.microsoft.com/office/drawing/2014/main" id="{3751838F-DFC0-E650-CFFC-6DDA6D22B528}"/>
              </a:ext>
            </a:extLst>
          </p:cNvPr>
          <p:cNvSpPr>
            <a:spLocks/>
          </p:cNvSpPr>
          <p:nvPr/>
        </p:nvSpPr>
        <p:spPr bwMode="auto">
          <a:xfrm>
            <a:off x="4428426" y="2039236"/>
            <a:ext cx="1684525" cy="437387"/>
          </a:xfrm>
          <a:prstGeom prst="homePlate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/>
            <a:r>
              <a:rPr lang="en-US" sz="16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5 – 8 years</a:t>
            </a: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" name="Pfeil: nach rechts 29">
            <a:extLst>
              <a:ext uri="{FF2B5EF4-FFF2-40B4-BE49-F238E27FC236}">
                <a16:creationId xmlns:a16="http://schemas.microsoft.com/office/drawing/2014/main" id="{145F04BC-2088-BC53-6CBE-D53678542515}"/>
              </a:ext>
            </a:extLst>
          </p:cNvPr>
          <p:cNvSpPr/>
          <p:nvPr/>
        </p:nvSpPr>
        <p:spPr bwMode="auto">
          <a:xfrm>
            <a:off x="4428426" y="2982832"/>
            <a:ext cx="2172027" cy="437387"/>
          </a:xfrm>
          <a:prstGeom prst="homePlate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/>
            <a:r>
              <a:rPr lang="en-US" sz="1600">
                <a:solidFill>
                  <a:schemeClr val="bg1"/>
                </a:solidFill>
                <a:latin typeface="+mn-lt"/>
              </a:rPr>
              <a:t>3</a:t>
            </a:r>
            <a:r>
              <a:rPr lang="en-US" sz="16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– 10 years</a:t>
            </a: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" name="Pfeil: nach rechts 30">
            <a:extLst>
              <a:ext uri="{FF2B5EF4-FFF2-40B4-BE49-F238E27FC236}">
                <a16:creationId xmlns:a16="http://schemas.microsoft.com/office/drawing/2014/main" id="{61CE6775-BA24-BAAB-9B2E-10ADFA4EF853}"/>
              </a:ext>
            </a:extLst>
          </p:cNvPr>
          <p:cNvSpPr>
            <a:spLocks/>
          </p:cNvSpPr>
          <p:nvPr/>
        </p:nvSpPr>
        <p:spPr bwMode="auto">
          <a:xfrm>
            <a:off x="4428426" y="3926428"/>
            <a:ext cx="3288151" cy="437387"/>
          </a:xfrm>
          <a:prstGeom prst="homePlate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/>
            <a:r>
              <a:rPr lang="en-US" sz="1600">
                <a:solidFill>
                  <a:schemeClr val="bg1"/>
                </a:solidFill>
                <a:latin typeface="+mn-lt"/>
              </a:rPr>
              <a:t>Average 15 years lifetime</a:t>
            </a: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0" name="Gerade Verbindung mit Pfeil 10">
            <a:extLst>
              <a:ext uri="{FF2B5EF4-FFF2-40B4-BE49-F238E27FC236}">
                <a16:creationId xmlns:a16="http://schemas.microsoft.com/office/drawing/2014/main" id="{B2A36F48-9754-95BA-83EB-65BC55E11E71}"/>
              </a:ext>
            </a:extLst>
          </p:cNvPr>
          <p:cNvCxnSpPr>
            <a:cxnSpLocks/>
          </p:cNvCxnSpPr>
          <p:nvPr/>
        </p:nvCxnSpPr>
        <p:spPr>
          <a:xfrm>
            <a:off x="4260193" y="5580177"/>
            <a:ext cx="7596844" cy="0"/>
          </a:xfrm>
          <a:prstGeom prst="straightConnector1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13">
            <a:extLst>
              <a:ext uri="{FF2B5EF4-FFF2-40B4-BE49-F238E27FC236}">
                <a16:creationId xmlns:a16="http://schemas.microsoft.com/office/drawing/2014/main" id="{BBD0FE68-5195-447B-C55C-463B0ADAEDE6}"/>
              </a:ext>
            </a:extLst>
          </p:cNvPr>
          <p:cNvCxnSpPr/>
          <p:nvPr/>
        </p:nvCxnSpPr>
        <p:spPr>
          <a:xfrm>
            <a:off x="4266408" y="5580177"/>
            <a:ext cx="0" cy="144016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14">
            <a:extLst>
              <a:ext uri="{FF2B5EF4-FFF2-40B4-BE49-F238E27FC236}">
                <a16:creationId xmlns:a16="http://schemas.microsoft.com/office/drawing/2014/main" id="{0115A7D5-60CB-6318-360F-6DC7B8F23DF2}"/>
              </a:ext>
            </a:extLst>
          </p:cNvPr>
          <p:cNvCxnSpPr/>
          <p:nvPr/>
        </p:nvCxnSpPr>
        <p:spPr>
          <a:xfrm>
            <a:off x="6097462" y="5580177"/>
            <a:ext cx="0" cy="144016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15">
            <a:extLst>
              <a:ext uri="{FF2B5EF4-FFF2-40B4-BE49-F238E27FC236}">
                <a16:creationId xmlns:a16="http://schemas.microsoft.com/office/drawing/2014/main" id="{37EA2C40-E696-96C5-7291-51EF6E489A61}"/>
              </a:ext>
            </a:extLst>
          </p:cNvPr>
          <p:cNvCxnSpPr/>
          <p:nvPr/>
        </p:nvCxnSpPr>
        <p:spPr>
          <a:xfrm>
            <a:off x="7252853" y="5580177"/>
            <a:ext cx="0" cy="144016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16">
            <a:extLst>
              <a:ext uri="{FF2B5EF4-FFF2-40B4-BE49-F238E27FC236}">
                <a16:creationId xmlns:a16="http://schemas.microsoft.com/office/drawing/2014/main" id="{644C9CFF-B4B1-3517-A8F7-E1E4F6FB72B6}"/>
              </a:ext>
            </a:extLst>
          </p:cNvPr>
          <p:cNvCxnSpPr/>
          <p:nvPr/>
        </p:nvCxnSpPr>
        <p:spPr>
          <a:xfrm>
            <a:off x="8408243" y="5580177"/>
            <a:ext cx="0" cy="144016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19">
            <a:extLst>
              <a:ext uri="{FF2B5EF4-FFF2-40B4-BE49-F238E27FC236}">
                <a16:creationId xmlns:a16="http://schemas.microsoft.com/office/drawing/2014/main" id="{0BDD7CDB-DA7B-5FD7-51B2-E09425417044}"/>
              </a:ext>
            </a:extLst>
          </p:cNvPr>
          <p:cNvCxnSpPr/>
          <p:nvPr/>
        </p:nvCxnSpPr>
        <p:spPr>
          <a:xfrm>
            <a:off x="10719024" y="5580177"/>
            <a:ext cx="0" cy="144016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r Verbinder 14">
            <a:extLst>
              <a:ext uri="{FF2B5EF4-FFF2-40B4-BE49-F238E27FC236}">
                <a16:creationId xmlns:a16="http://schemas.microsoft.com/office/drawing/2014/main" id="{1CED369B-B380-C4E0-6FC8-026F2C27A043}"/>
              </a:ext>
            </a:extLst>
          </p:cNvPr>
          <p:cNvCxnSpPr/>
          <p:nvPr/>
        </p:nvCxnSpPr>
        <p:spPr>
          <a:xfrm>
            <a:off x="4944269" y="5580177"/>
            <a:ext cx="0" cy="144016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feld 23">
            <a:extLst>
              <a:ext uri="{FF2B5EF4-FFF2-40B4-BE49-F238E27FC236}">
                <a16:creationId xmlns:a16="http://schemas.microsoft.com/office/drawing/2014/main" id="{0FB39BC1-C74C-F92A-0D3B-40469C770735}"/>
              </a:ext>
            </a:extLst>
          </p:cNvPr>
          <p:cNvSpPr txBox="1"/>
          <p:nvPr/>
        </p:nvSpPr>
        <p:spPr bwMode="auto">
          <a:xfrm>
            <a:off x="4705790" y="5745264"/>
            <a:ext cx="45525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600" kern="0" baseline="0">
                <a:latin typeface="+mn-lt"/>
                <a:ea typeface="+mn-ea"/>
                <a:cs typeface="+mn-cs"/>
              </a:rPr>
              <a:t>2025</a:t>
            </a:r>
            <a:endParaRPr lang="en-US" sz="16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68" name="Smartphone">
            <a:extLst>
              <a:ext uri="{FF2B5EF4-FFF2-40B4-BE49-F238E27FC236}">
                <a16:creationId xmlns:a16="http://schemas.microsoft.com/office/drawing/2014/main" id="{6F39D4CC-E97A-EC1A-4B6A-4084C65A2DA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870539" y="2029329"/>
            <a:ext cx="457200" cy="457200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85D63693-32D1-AA9C-CDF3-4740775AE63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70539" y="2972925"/>
            <a:ext cx="457200" cy="457200"/>
          </a:xfrm>
          <a:prstGeom prst="rect">
            <a:avLst/>
          </a:prstGeom>
        </p:spPr>
      </p:pic>
      <p:pic>
        <p:nvPicPr>
          <p:cNvPr id="70" name="Car">
            <a:extLst>
              <a:ext uri="{FF2B5EF4-FFF2-40B4-BE49-F238E27FC236}">
                <a16:creationId xmlns:a16="http://schemas.microsoft.com/office/drawing/2014/main" id="{906284FE-591C-EDA0-D17F-61079CB0633D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870539" y="3916522"/>
            <a:ext cx="457200" cy="457200"/>
          </a:xfrm>
          <a:prstGeom prst="rect">
            <a:avLst/>
          </a:prstGeom>
        </p:spPr>
      </p:pic>
      <p:pic>
        <p:nvPicPr>
          <p:cNvPr id="71" name="Industrial robot">
            <a:extLst>
              <a:ext uri="{FF2B5EF4-FFF2-40B4-BE49-F238E27FC236}">
                <a16:creationId xmlns:a16="http://schemas.microsoft.com/office/drawing/2014/main" id="{7831B566-A899-EA19-BBB2-8FE82FA15B0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870539" y="4860118"/>
            <a:ext cx="457200" cy="457200"/>
          </a:xfrm>
          <a:prstGeom prst="rect">
            <a:avLst/>
          </a:prstGeom>
        </p:spPr>
      </p:pic>
      <p:sp>
        <p:nvSpPr>
          <p:cNvPr id="72" name="Arrow: Chevron 2">
            <a:extLst>
              <a:ext uri="{FF2B5EF4-FFF2-40B4-BE49-F238E27FC236}">
                <a16:creationId xmlns:a16="http://schemas.microsoft.com/office/drawing/2014/main" id="{CE0021A9-B65D-E01D-5170-7474551542B1}"/>
              </a:ext>
            </a:extLst>
          </p:cNvPr>
          <p:cNvSpPr>
            <a:spLocks/>
          </p:cNvSpPr>
          <p:nvPr/>
        </p:nvSpPr>
        <p:spPr bwMode="auto">
          <a:xfrm flipH="1">
            <a:off x="2914232" y="3909623"/>
            <a:ext cx="287529" cy="432048"/>
          </a:xfrm>
          <a:prstGeom prst="chevron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/>
            <a:endParaRPr lang="en-US" sz="160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25356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C7AFE1-AE08-34AA-2771-F33602304D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147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B1F74B5-6A88-1436-86BE-1D05A8FC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security of TPM applications can only be as high </a:t>
            </a:r>
            <a:br>
              <a:rPr lang="en-US" dirty="0"/>
            </a:br>
            <a:r>
              <a:rPr lang="en-US" dirty="0"/>
              <a:t>as the one of the firmware update mechanism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1C05D622-34CC-31C4-2DF4-F08BD5508ED8}"/>
              </a:ext>
            </a:extLst>
          </p:cNvPr>
          <p:cNvSpPr>
            <a:spLocks/>
          </p:cNvSpPr>
          <p:nvPr/>
        </p:nvSpPr>
        <p:spPr bwMode="auto">
          <a:xfrm>
            <a:off x="8255450" y="2797941"/>
            <a:ext cx="36000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b">
            <a:noAutofit/>
          </a:bodyPr>
          <a:lstStyle/>
          <a:p>
            <a:pPr eaLnBrk="0" hangingPunct="0"/>
            <a:r>
              <a:rPr lang="en-US" sz="2400" b="1" dirty="0">
                <a:latin typeface="+mn-lt"/>
                <a:ea typeface="Verdana" pitchFamily="34" charset="0"/>
                <a:cs typeface="Arial" panose="020B0604020202020204" pitchFamily="34" charset="0"/>
              </a:rPr>
              <a:t>In the near future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BC0727D5-3F50-3E7A-2B36-B57215D27E0F}"/>
              </a:ext>
            </a:extLst>
          </p:cNvPr>
          <p:cNvSpPr txBox="1">
            <a:spLocks/>
          </p:cNvSpPr>
          <p:nvPr/>
        </p:nvSpPr>
        <p:spPr bwMode="auto">
          <a:xfrm>
            <a:off x="8255450" y="3141752"/>
            <a:ext cx="3600000" cy="2038088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en-US" sz="1600" dirty="0"/>
              <a:t>Embedded devic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600" dirty="0"/>
              <a:t>Firmware update mechanism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600" b="1" dirty="0"/>
              <a:t>128-bit PQC security</a:t>
            </a:r>
          </a:p>
        </p:txBody>
      </p:sp>
      <p:sp>
        <p:nvSpPr>
          <p:cNvPr id="37" name="Rectangle 116">
            <a:extLst>
              <a:ext uri="{FF2B5EF4-FFF2-40B4-BE49-F238E27FC236}">
                <a16:creationId xmlns:a16="http://schemas.microsoft.com/office/drawing/2014/main" id="{FDF6236F-C01C-340F-EB5F-7829E8FEC70F}"/>
              </a:ext>
            </a:extLst>
          </p:cNvPr>
          <p:cNvSpPr/>
          <p:nvPr/>
        </p:nvSpPr>
        <p:spPr>
          <a:xfrm rot="5400000">
            <a:off x="10030251" y="1366951"/>
            <a:ext cx="50400" cy="3600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7" dirty="0">
              <a:cs typeface="Arial" panose="020B0604020202020204" pitchFamily="34" charset="0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99D4C314-655E-4082-9608-8B40B3501052}"/>
              </a:ext>
            </a:extLst>
          </p:cNvPr>
          <p:cNvSpPr>
            <a:spLocks/>
          </p:cNvSpPr>
          <p:nvPr/>
        </p:nvSpPr>
        <p:spPr bwMode="auto">
          <a:xfrm>
            <a:off x="4294942" y="2797941"/>
            <a:ext cx="36000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b">
            <a:noAutofit/>
          </a:bodyPr>
          <a:lstStyle/>
          <a:p>
            <a:pPr eaLnBrk="0" hangingPunct="0"/>
            <a:r>
              <a:rPr lang="en-US" sz="2400" b="1" dirty="0">
                <a:latin typeface="+mn-lt"/>
                <a:ea typeface="Verdana" pitchFamily="34" charset="0"/>
                <a:cs typeface="Arial" panose="020B0604020202020204" pitchFamily="34" charset="0"/>
              </a:rPr>
              <a:t>Today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6061F0CE-69A3-AEBE-A22C-76CA8BA5726E}"/>
              </a:ext>
            </a:extLst>
          </p:cNvPr>
          <p:cNvSpPr txBox="1">
            <a:spLocks/>
          </p:cNvSpPr>
          <p:nvPr/>
        </p:nvSpPr>
        <p:spPr bwMode="auto">
          <a:xfrm>
            <a:off x="4294942" y="3141752"/>
            <a:ext cx="3600000" cy="2038088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en-US" sz="1600" dirty="0"/>
              <a:t>Embedded devic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600" dirty="0"/>
              <a:t>Firmware update mechanism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600" b="1" dirty="0"/>
              <a:t>128-bit PQC security</a:t>
            </a:r>
          </a:p>
        </p:txBody>
      </p:sp>
      <p:sp>
        <p:nvSpPr>
          <p:cNvPr id="40" name="Rectangle 116">
            <a:extLst>
              <a:ext uri="{FF2B5EF4-FFF2-40B4-BE49-F238E27FC236}">
                <a16:creationId xmlns:a16="http://schemas.microsoft.com/office/drawing/2014/main" id="{883085E5-AEF6-266C-DA61-9DDB87A220BB}"/>
              </a:ext>
            </a:extLst>
          </p:cNvPr>
          <p:cNvSpPr>
            <a:spLocks/>
          </p:cNvSpPr>
          <p:nvPr/>
        </p:nvSpPr>
        <p:spPr>
          <a:xfrm rot="5400000">
            <a:off x="6069744" y="1366951"/>
            <a:ext cx="50400" cy="3600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7" dirty="0">
              <a:cs typeface="Arial" panose="020B0604020202020204" pitchFamily="34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E13D0A17-26D4-013F-190A-319DBC29F013}"/>
              </a:ext>
            </a:extLst>
          </p:cNvPr>
          <p:cNvSpPr>
            <a:spLocks/>
          </p:cNvSpPr>
          <p:nvPr/>
        </p:nvSpPr>
        <p:spPr bwMode="auto">
          <a:xfrm>
            <a:off x="334434" y="2797941"/>
            <a:ext cx="36000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b">
            <a:noAutofit/>
          </a:bodyPr>
          <a:lstStyle/>
          <a:p>
            <a:pPr eaLnBrk="0" hangingPunct="0"/>
            <a:r>
              <a:rPr lang="en-US" sz="2400" b="1" dirty="0">
                <a:latin typeface="+mn-lt"/>
                <a:ea typeface="Verdana" pitchFamily="34" charset="0"/>
                <a:cs typeface="Arial" panose="020B0604020202020204" pitchFamily="34" charset="0"/>
              </a:rPr>
              <a:t>In the past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9FDB074E-99A0-FB28-C36F-6A5CEA9E8F7F}"/>
              </a:ext>
            </a:extLst>
          </p:cNvPr>
          <p:cNvSpPr txBox="1">
            <a:spLocks/>
          </p:cNvSpPr>
          <p:nvPr/>
        </p:nvSpPr>
        <p:spPr bwMode="auto">
          <a:xfrm>
            <a:off x="334434" y="3141752"/>
            <a:ext cx="3600000" cy="2038088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en-US" sz="1600" dirty="0"/>
              <a:t>Embedded devic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600" dirty="0"/>
              <a:t>Firmware update mechanism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600" b="1" dirty="0"/>
              <a:t>128-bit classical security</a:t>
            </a:r>
          </a:p>
        </p:txBody>
      </p:sp>
      <p:sp>
        <p:nvSpPr>
          <p:cNvPr id="43" name="Rectangle 116">
            <a:extLst>
              <a:ext uri="{FF2B5EF4-FFF2-40B4-BE49-F238E27FC236}">
                <a16:creationId xmlns:a16="http://schemas.microsoft.com/office/drawing/2014/main" id="{3BE9EC4B-3CFE-A3E1-3E1B-EBC96DD145EB}"/>
              </a:ext>
            </a:extLst>
          </p:cNvPr>
          <p:cNvSpPr>
            <a:spLocks/>
          </p:cNvSpPr>
          <p:nvPr/>
        </p:nvSpPr>
        <p:spPr>
          <a:xfrm rot="5400000">
            <a:off x="2109236" y="1366951"/>
            <a:ext cx="50400" cy="3600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7" dirty="0">
              <a:cs typeface="Arial" panose="020B0604020202020204" pitchFamily="34" charset="0"/>
            </a:endParaRPr>
          </a:p>
        </p:txBody>
      </p:sp>
      <p:sp>
        <p:nvSpPr>
          <p:cNvPr id="44" name="Rectangle 30">
            <a:extLst>
              <a:ext uri="{FF2B5EF4-FFF2-40B4-BE49-F238E27FC236}">
                <a16:creationId xmlns:a16="http://schemas.microsoft.com/office/drawing/2014/main" id="{6AC63854-8CA4-BC0A-FD5A-955D65CC2B71}"/>
              </a:ext>
            </a:extLst>
          </p:cNvPr>
          <p:cNvSpPr>
            <a:spLocks/>
          </p:cNvSpPr>
          <p:nvPr/>
        </p:nvSpPr>
        <p:spPr bwMode="auto">
          <a:xfrm>
            <a:off x="8255450" y="4192119"/>
            <a:ext cx="2713526" cy="844665"/>
          </a:xfrm>
          <a:prstGeom prst="rect">
            <a:avLst/>
          </a:prstGeom>
          <a:solidFill>
            <a:srgbClr val="B8DEDA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44000" tIns="108000" rIns="144000" bIns="108000" rtlCol="0" anchor="ctr">
            <a:noAutofit/>
          </a:bodyPr>
          <a:lstStyle/>
          <a:p>
            <a:pPr eaLnBrk="0" hangingPunct="0">
              <a:buClr>
                <a:srgbClr val="000000"/>
              </a:buClr>
            </a:pPr>
            <a:r>
              <a:rPr lang="en-US" sz="1600" dirty="0">
                <a:latin typeface="+mn-lt"/>
                <a:ea typeface="Verdana" pitchFamily="34" charset="0"/>
                <a:cs typeface="Arial" panose="020B0604020202020204" pitchFamily="34" charset="0"/>
              </a:rPr>
              <a:t>Embedded application </a:t>
            </a:r>
          </a:p>
          <a:p>
            <a:pPr eaLnBrk="0" hangingPunct="0">
              <a:buClr>
                <a:srgbClr val="000000"/>
              </a:buClr>
            </a:pPr>
            <a:r>
              <a:rPr lang="en-US" sz="1600" b="1" dirty="0">
                <a:latin typeface="+mn-lt"/>
                <a:ea typeface="Verdana" pitchFamily="34" charset="0"/>
                <a:cs typeface="Arial" panose="020B0604020202020204" pitchFamily="34" charset="0"/>
              </a:rPr>
              <a:t>128-bit PQC security</a:t>
            </a:r>
          </a:p>
        </p:txBody>
      </p:sp>
      <p:sp>
        <p:nvSpPr>
          <p:cNvPr id="45" name="Rectangle 20">
            <a:extLst>
              <a:ext uri="{FF2B5EF4-FFF2-40B4-BE49-F238E27FC236}">
                <a16:creationId xmlns:a16="http://schemas.microsoft.com/office/drawing/2014/main" id="{365E12DC-4EAF-AF7B-2B5E-C401618B4065}"/>
              </a:ext>
            </a:extLst>
          </p:cNvPr>
          <p:cNvSpPr>
            <a:spLocks/>
          </p:cNvSpPr>
          <p:nvPr/>
        </p:nvSpPr>
        <p:spPr bwMode="auto">
          <a:xfrm>
            <a:off x="334434" y="4192119"/>
            <a:ext cx="2353331" cy="84466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44000" tIns="108000" rIns="144000" bIns="108000" rtlCol="0" anchor="ctr">
            <a:noAutofit/>
          </a:bodyPr>
          <a:lstStyle/>
          <a:p>
            <a:pPr eaLnBrk="0" hangingPunct="0">
              <a:buClr>
                <a:srgbClr val="000000"/>
              </a:buClr>
            </a:pPr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Arial" panose="020B0604020202020204" pitchFamily="34" charset="0"/>
              </a:rPr>
              <a:t>Embedded application </a:t>
            </a:r>
          </a:p>
          <a:p>
            <a:pPr eaLnBrk="0" hangingPunct="0">
              <a:buClr>
                <a:srgbClr val="000000"/>
              </a:buClr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Verdana" pitchFamily="34" charset="0"/>
                <a:cs typeface="Arial" panose="020B0604020202020204" pitchFamily="34" charset="0"/>
              </a:rPr>
              <a:t>128-bit classical security</a:t>
            </a:r>
          </a:p>
        </p:txBody>
      </p:sp>
      <p:sp>
        <p:nvSpPr>
          <p:cNvPr id="46" name="Rectangle 6">
            <a:extLst>
              <a:ext uri="{FF2B5EF4-FFF2-40B4-BE49-F238E27FC236}">
                <a16:creationId xmlns:a16="http://schemas.microsoft.com/office/drawing/2014/main" id="{523182B6-8A14-232C-B743-FBB7AC674D1D}"/>
              </a:ext>
            </a:extLst>
          </p:cNvPr>
          <p:cNvSpPr>
            <a:spLocks/>
          </p:cNvSpPr>
          <p:nvPr/>
        </p:nvSpPr>
        <p:spPr bwMode="auto">
          <a:xfrm>
            <a:off x="4294942" y="4192119"/>
            <a:ext cx="2313663" cy="844665"/>
          </a:xfrm>
          <a:prstGeom prst="rect">
            <a:avLst/>
          </a:prstGeom>
          <a:solidFill>
            <a:srgbClr val="6CB4AD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44000" tIns="108000" rIns="144000" bIns="108000" rtlCol="0" anchor="ctr">
            <a:noAutofit/>
          </a:bodyPr>
          <a:lstStyle/>
          <a:p>
            <a:pPr eaLnBrk="0" hangingPunct="0">
              <a:buClr>
                <a:srgbClr val="000000"/>
              </a:buClr>
            </a:pPr>
            <a:r>
              <a:rPr lang="en-US" sz="1600" dirty="0">
                <a:solidFill>
                  <a:srgbClr val="000000"/>
                </a:solidFill>
                <a:latin typeface="+mn-lt"/>
                <a:ea typeface="Verdana" pitchFamily="34" charset="0"/>
                <a:cs typeface="Arial" panose="020B0604020202020204" pitchFamily="34" charset="0"/>
              </a:rPr>
              <a:t>Embedded application </a:t>
            </a:r>
          </a:p>
          <a:p>
            <a:pPr eaLnBrk="0" hangingPunct="0">
              <a:buClr>
                <a:srgbClr val="000000"/>
              </a:buClr>
            </a:pPr>
            <a:r>
              <a:rPr lang="en-US" sz="1600" b="1" dirty="0">
                <a:solidFill>
                  <a:srgbClr val="000000"/>
                </a:solidFill>
                <a:latin typeface="+mn-lt"/>
                <a:ea typeface="Verdana" pitchFamily="34" charset="0"/>
                <a:cs typeface="Arial" panose="020B0604020202020204" pitchFamily="34" charset="0"/>
              </a:rPr>
              <a:t>128-bit (or more) classical security</a:t>
            </a:r>
          </a:p>
        </p:txBody>
      </p:sp>
      <p:sp>
        <p:nvSpPr>
          <p:cNvPr id="47" name="Rounded Rectangle 5">
            <a:extLst>
              <a:ext uri="{FF2B5EF4-FFF2-40B4-BE49-F238E27FC236}">
                <a16:creationId xmlns:a16="http://schemas.microsoft.com/office/drawing/2014/main" id="{81909BE7-2ACD-F1AB-0380-768ECD451467}"/>
              </a:ext>
            </a:extLst>
          </p:cNvPr>
          <p:cNvSpPr>
            <a:spLocks/>
          </p:cNvSpPr>
          <p:nvPr/>
        </p:nvSpPr>
        <p:spPr bwMode="auto">
          <a:xfrm>
            <a:off x="4294942" y="5693592"/>
            <a:ext cx="3600000" cy="686318"/>
          </a:xfrm>
          <a:prstGeom prst="rect">
            <a:avLst/>
          </a:prstGeom>
          <a:solidFill>
            <a:srgbClr val="DCD5D7"/>
          </a:solidFill>
          <a:ln>
            <a:noFill/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44000" tIns="108000" rIns="144000" bIns="108000" rtlCol="0" anchor="ctr">
            <a:noAutofit/>
          </a:bodyPr>
          <a:lstStyle/>
          <a:p>
            <a:pPr eaLnBrk="0" hangingPunct="0"/>
            <a:r>
              <a:rPr lang="en-US" sz="1600" dirty="0">
                <a:solidFill>
                  <a:schemeClr val="tx1"/>
                </a:solidFill>
                <a:ea typeface="Verdana" pitchFamily="34" charset="0"/>
                <a:cs typeface="Arial" panose="020B0604020202020204" pitchFamily="34" charset="0"/>
              </a:rPr>
              <a:t>Use HBS standards available today</a:t>
            </a:r>
          </a:p>
        </p:txBody>
      </p:sp>
      <p:sp>
        <p:nvSpPr>
          <p:cNvPr id="48" name="Rounded Rectangle 27">
            <a:extLst>
              <a:ext uri="{FF2B5EF4-FFF2-40B4-BE49-F238E27FC236}">
                <a16:creationId xmlns:a16="http://schemas.microsoft.com/office/drawing/2014/main" id="{DC534167-775B-2054-D880-432F01236D03}"/>
              </a:ext>
            </a:extLst>
          </p:cNvPr>
          <p:cNvSpPr>
            <a:spLocks/>
          </p:cNvSpPr>
          <p:nvPr/>
        </p:nvSpPr>
        <p:spPr bwMode="auto">
          <a:xfrm>
            <a:off x="8255450" y="5693592"/>
            <a:ext cx="3600000" cy="686318"/>
          </a:xfrm>
          <a:prstGeom prst="rect">
            <a:avLst/>
          </a:prstGeom>
          <a:solidFill>
            <a:srgbClr val="DCD5D7"/>
          </a:solidFill>
          <a:ln>
            <a:noFill/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44000" tIns="108000" rIns="144000" bIns="108000" rtlCol="0" anchor="ctr">
            <a:noAutofit/>
          </a:bodyPr>
          <a:lstStyle/>
          <a:p>
            <a:pPr eaLnBrk="0" hangingPunct="0"/>
            <a:r>
              <a:rPr lang="en-US" sz="1600" dirty="0">
                <a:solidFill>
                  <a:schemeClr val="tx1"/>
                </a:solidFill>
                <a:ea typeface="Verdana" pitchFamily="34" charset="0"/>
                <a:cs typeface="Arial" panose="020B0604020202020204" pitchFamily="34" charset="0"/>
              </a:rPr>
              <a:t>Upgrade to future </a:t>
            </a:r>
            <a:br>
              <a:rPr lang="en-US" sz="1600" dirty="0">
                <a:solidFill>
                  <a:schemeClr val="tx1"/>
                </a:solidFill>
                <a:ea typeface="Verdana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tx1"/>
                </a:solidFill>
                <a:ea typeface="Verdana" pitchFamily="34" charset="0"/>
                <a:cs typeface="Arial" panose="020B0604020202020204" pitchFamily="34" charset="0"/>
              </a:rPr>
              <a:t>PQC standards</a:t>
            </a:r>
          </a:p>
        </p:txBody>
      </p:sp>
      <p:pic>
        <p:nvPicPr>
          <p:cNvPr id="49" name="Grafik 108" descr="Kreis mit Pfeil nach links Silhouette">
            <a:extLst>
              <a:ext uri="{FF2B5EF4-FFF2-40B4-BE49-F238E27FC236}">
                <a16:creationId xmlns:a16="http://schemas.microsoft.com/office/drawing/2014/main" id="{2A132F44-4245-183D-E1B0-1C20ADE2AB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 flipH="1">
            <a:off x="245716" y="1570940"/>
            <a:ext cx="925110" cy="925110"/>
          </a:xfrm>
          <a:prstGeom prst="rect">
            <a:avLst/>
          </a:prstGeom>
        </p:spPr>
      </p:pic>
      <p:pic>
        <p:nvPicPr>
          <p:cNvPr id="50" name="Grafik 108" descr="Kreis mit Pfeil nach links Silhouette">
            <a:extLst>
              <a:ext uri="{FF2B5EF4-FFF2-40B4-BE49-F238E27FC236}">
                <a16:creationId xmlns:a16="http://schemas.microsoft.com/office/drawing/2014/main" id="{292BA22B-C0CB-806C-C326-236810D0D4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8184232" y="1570940"/>
            <a:ext cx="925110" cy="925110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5B99246F-3E4E-44A8-4A48-AAC4EC9F4F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7335" y="4341535"/>
            <a:ext cx="545832" cy="545832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9D104267-E96F-BC00-2F9B-A6A4A13B37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80373" y="4341535"/>
            <a:ext cx="545832" cy="545832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FB4E0E0C-8B8A-D87F-996F-9968A4F2A38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90152" y="1627761"/>
            <a:ext cx="811467" cy="811467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F4A99A25-4A7A-E278-D338-AA9EBB6E87D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69115" y="4424029"/>
            <a:ext cx="380844" cy="380844"/>
          </a:xfrm>
          <a:prstGeom prst="rect">
            <a:avLst/>
          </a:prstGeom>
        </p:spPr>
      </p:pic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F56BD76C-F55C-EF78-ACDC-5132E02A1BDB}"/>
              </a:ext>
            </a:extLst>
          </p:cNvPr>
          <p:cNvCxnSpPr>
            <a:cxnSpLocks/>
            <a:endCxn id="44" idx="2"/>
          </p:cNvCxnSpPr>
          <p:nvPr/>
        </p:nvCxnSpPr>
        <p:spPr>
          <a:xfrm flipV="1">
            <a:off x="9612213" y="5036784"/>
            <a:ext cx="0" cy="656808"/>
          </a:xfrm>
          <a:prstGeom prst="line">
            <a:avLst/>
          </a:prstGeom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Freihandform: Form 55">
            <a:extLst>
              <a:ext uri="{FF2B5EF4-FFF2-40B4-BE49-F238E27FC236}">
                <a16:creationId xmlns:a16="http://schemas.microsoft.com/office/drawing/2014/main" id="{E5449054-8251-D7A6-F24C-609EF377EA01}"/>
              </a:ext>
            </a:extLst>
          </p:cNvPr>
          <p:cNvSpPr/>
          <p:nvPr/>
        </p:nvSpPr>
        <p:spPr bwMode="auto">
          <a:xfrm>
            <a:off x="4105902" y="3817620"/>
            <a:ext cx="189038" cy="2202180"/>
          </a:xfrm>
          <a:custGeom>
            <a:avLst/>
            <a:gdLst>
              <a:gd name="connsiteX0" fmla="*/ 434340 w 434340"/>
              <a:gd name="connsiteY0" fmla="*/ 2202180 h 2202180"/>
              <a:gd name="connsiteX1" fmla="*/ 0 w 434340"/>
              <a:gd name="connsiteY1" fmla="*/ 2202180 h 2202180"/>
              <a:gd name="connsiteX2" fmla="*/ 0 w 434340"/>
              <a:gd name="connsiteY2" fmla="*/ 0 h 2202180"/>
              <a:gd name="connsiteX3" fmla="*/ 411480 w 434340"/>
              <a:gd name="connsiteY3" fmla="*/ 0 h 2202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4340" h="2202180">
                <a:moveTo>
                  <a:pt x="434340" y="2202180"/>
                </a:moveTo>
                <a:lnTo>
                  <a:pt x="0" y="2202180"/>
                </a:lnTo>
                <a:lnTo>
                  <a:pt x="0" y="0"/>
                </a:lnTo>
                <a:lnTo>
                  <a:pt x="411480" y="0"/>
                </a:lnTo>
              </a:path>
            </a:pathLst>
          </a:custGeom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305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010BE580-F4EF-371B-2B64-A51F79F90E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0BE580-F4EF-371B-2B64-A51F79F90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Tablet">
            <a:extLst>
              <a:ext uri="{FF2B5EF4-FFF2-40B4-BE49-F238E27FC236}">
                <a16:creationId xmlns:a16="http://schemas.microsoft.com/office/drawing/2014/main" id="{2DB8998D-671F-0D8A-BCAA-F6E81DC989A4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67" r="19667"/>
          <a:stretch/>
        </p:blipFill>
        <p:spPr>
          <a:xfrm>
            <a:off x="4311394" y="0"/>
            <a:ext cx="7889696" cy="685800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334E62D-FA8E-AEB3-0979-8F9B5C2B65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400000">
            <a:off x="-646348" y="638133"/>
            <a:ext cx="6858002" cy="5581737"/>
          </a:xfrm>
          <a:prstGeom prst="rect">
            <a:avLst/>
          </a:prstGeom>
        </p:spPr>
      </p:pic>
      <p:sp>
        <p:nvSpPr>
          <p:cNvPr id="11" name="Textfeld 14">
            <a:extLst>
              <a:ext uri="{FF2B5EF4-FFF2-40B4-BE49-F238E27FC236}">
                <a16:creationId xmlns:a16="http://schemas.microsoft.com/office/drawing/2014/main" id="{CECE2766-2461-4146-90EF-6EDABCDF5CF0}"/>
              </a:ext>
            </a:extLst>
          </p:cNvPr>
          <p:cNvSpPr txBox="1"/>
          <p:nvPr/>
        </p:nvSpPr>
        <p:spPr bwMode="auto">
          <a:xfrm>
            <a:off x="334434" y="1448780"/>
            <a:ext cx="394265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US" sz="3600" b="1" kern="0" dirty="0">
                <a:solidFill>
                  <a:schemeClr val="tx2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OPTIGA™ TPM SLB 9673</a:t>
            </a:r>
          </a:p>
        </p:txBody>
      </p:sp>
    </p:spTree>
    <p:extLst>
      <p:ext uri="{BB962C8B-B14F-4D97-AF65-F5344CB8AC3E}">
        <p14:creationId xmlns:p14="http://schemas.microsoft.com/office/powerpoint/2010/main" val="495512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0EF59AD0-1D59-8E3E-E6D5-BFF9E5FA36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5440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31159E12-E269-B86F-B64D-7E613337A1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fineon has already taken the first steps </a:t>
            </a:r>
            <a:br>
              <a:rPr lang="en-US" dirty="0"/>
            </a:br>
            <a:r>
              <a:rPr lang="en-US" dirty="0"/>
              <a:t>into the world of quantum computing</a:t>
            </a:r>
          </a:p>
        </p:txBody>
      </p:sp>
      <p:sp>
        <p:nvSpPr>
          <p:cNvPr id="9" name="TextBox">
            <a:extLst>
              <a:ext uri="{FF2B5EF4-FFF2-40B4-BE49-F238E27FC236}">
                <a16:creationId xmlns:a16="http://schemas.microsoft.com/office/drawing/2014/main" id="{E3B45D6D-18AC-0D02-8B07-E21256F4553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334434" y="4302687"/>
            <a:ext cx="4069378" cy="830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dirty="0"/>
              <a:t>offers </a:t>
            </a:r>
            <a:r>
              <a:rPr lang="en-US" b="1" dirty="0"/>
              <a:t>the first TPMs </a:t>
            </a:r>
            <a:r>
              <a:rPr lang="en-US" dirty="0"/>
              <a:t>on the market </a:t>
            </a:r>
            <a:br>
              <a:rPr lang="en-US" dirty="0"/>
            </a:br>
            <a:r>
              <a:rPr lang="en-US" dirty="0"/>
              <a:t>with a </a:t>
            </a:r>
            <a:r>
              <a:rPr lang="en-US" b="1" dirty="0"/>
              <a:t>PQC-protected</a:t>
            </a:r>
            <a:r>
              <a:rPr lang="en-US" dirty="0"/>
              <a:t> firmware </a:t>
            </a:r>
            <a:br>
              <a:rPr lang="en-US" dirty="0"/>
            </a:br>
            <a:r>
              <a:rPr lang="en-US" dirty="0"/>
              <a:t>update mechanism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10A51CF-DBD9-611C-477E-B8128D6700DB}"/>
              </a:ext>
            </a:extLst>
          </p:cNvPr>
          <p:cNvSpPr>
            <a:spLocks/>
          </p:cNvSpPr>
          <p:nvPr/>
        </p:nvSpPr>
        <p:spPr bwMode="auto">
          <a:xfrm>
            <a:off x="334434" y="3659613"/>
            <a:ext cx="406937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b">
            <a:noAutofit/>
          </a:bodyPr>
          <a:lstStyle/>
          <a:p>
            <a:pPr eaLnBrk="0" hangingPunct="0"/>
            <a:r>
              <a:rPr lang="en-US" sz="2400" b="1" dirty="0">
                <a:latin typeface="+mn-lt"/>
                <a:ea typeface="Verdana" pitchFamily="34" charset="0"/>
                <a:cs typeface="Arial" panose="020B0604020202020204" pitchFamily="34" charset="0"/>
              </a:rPr>
              <a:t>Infineon’s </a:t>
            </a:r>
            <a:br>
              <a:rPr lang="en-US" sz="2400" b="1" dirty="0">
                <a:latin typeface="+mn-lt"/>
                <a:ea typeface="Verdana" pitchFamily="34" charset="0"/>
                <a:cs typeface="Arial" panose="020B0604020202020204" pitchFamily="34" charset="0"/>
              </a:rPr>
            </a:br>
            <a:r>
              <a:rPr lang="en-US" sz="2400" b="1" dirty="0">
                <a:latin typeface="+mn-lt"/>
                <a:ea typeface="Verdana" pitchFamily="34" charset="0"/>
                <a:cs typeface="Arial" panose="020B0604020202020204" pitchFamily="34" charset="0"/>
              </a:rPr>
              <a:t>OPTIGA™ TPM family … 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id="{668F0D20-0FED-00A9-CC20-6EF262C17505}"/>
              </a:ext>
            </a:extLst>
          </p:cNvPr>
          <p:cNvSpPr>
            <a:spLocks/>
          </p:cNvSpPr>
          <p:nvPr/>
        </p:nvSpPr>
        <p:spPr>
          <a:xfrm rot="5400000">
            <a:off x="2342512" y="2087679"/>
            <a:ext cx="51726" cy="406788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7" dirty="0">
              <a:cs typeface="Arial" panose="020B0604020202020204" pitchFamily="34" charset="0"/>
            </a:endParaRPr>
          </a:p>
        </p:txBody>
      </p:sp>
      <p:pic>
        <p:nvPicPr>
          <p:cNvPr id="12" name="Chip">
            <a:extLst>
              <a:ext uri="{FF2B5EF4-FFF2-40B4-BE49-F238E27FC236}">
                <a16:creationId xmlns:a16="http://schemas.microsoft.com/office/drawing/2014/main" id="{329515C7-2583-190D-1671-8E2D8D35C1F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5360" y="2053698"/>
            <a:ext cx="1029971" cy="1029971"/>
          </a:xfrm>
          <a:prstGeom prst="rect">
            <a:avLst/>
          </a:prstGeom>
        </p:spPr>
      </p:pic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CAC80D5-F1D4-0A3A-5FC6-01FD73D6DD2A}"/>
              </a:ext>
            </a:extLst>
          </p:cNvPr>
          <p:cNvCxnSpPr>
            <a:cxnSpLocks/>
          </p:cNvCxnSpPr>
          <p:nvPr/>
        </p:nvCxnSpPr>
        <p:spPr>
          <a:xfrm>
            <a:off x="4727848" y="4121619"/>
            <a:ext cx="7129190" cy="0"/>
          </a:xfrm>
          <a:prstGeom prst="line">
            <a:avLst/>
          </a:prstGeom>
          <a:ln w="9525" cap="flat" cmpd="sng" algn="ctr">
            <a:solidFill>
              <a:schemeClr val="bg2">
                <a:lumMod val="100000"/>
              </a:schemeClr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4">
            <a:extLst>
              <a:ext uri="{FF2B5EF4-FFF2-40B4-BE49-F238E27FC236}">
                <a16:creationId xmlns:a16="http://schemas.microsoft.com/office/drawing/2014/main" id="{1D9312D0-F2A8-C7BF-0F9C-FE0D33B89D3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2222" y="2040998"/>
            <a:ext cx="2116485" cy="1446264"/>
          </a:xfrm>
          <a:prstGeom prst="rect">
            <a:avLst/>
          </a:prstGeom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61E7FB5C-D60F-129E-ABD2-2DE4A29505E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700" y="2091283"/>
            <a:ext cx="2116485" cy="1446265"/>
          </a:xfrm>
          <a:prstGeom prst="rect">
            <a:avLst/>
          </a:prstGeom>
        </p:spPr>
      </p:pic>
      <p:sp>
        <p:nvSpPr>
          <p:cNvPr id="23" name="Ellipse 22">
            <a:extLst>
              <a:ext uri="{FF2B5EF4-FFF2-40B4-BE49-F238E27FC236}">
                <a16:creationId xmlns:a16="http://schemas.microsoft.com/office/drawing/2014/main" id="{A94D89E6-6849-1E27-80AE-EFC169048E01}"/>
              </a:ext>
            </a:extLst>
          </p:cNvPr>
          <p:cNvSpPr>
            <a:spLocks/>
          </p:cNvSpPr>
          <p:nvPr/>
        </p:nvSpPr>
        <p:spPr bwMode="auto">
          <a:xfrm>
            <a:off x="9925568" y="4006723"/>
            <a:ext cx="229792" cy="229792"/>
          </a:xfrm>
          <a:prstGeom prst="ellipse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C859804-D21E-92D3-ED61-6006A7745861}"/>
              </a:ext>
            </a:extLst>
          </p:cNvPr>
          <p:cNvSpPr>
            <a:spLocks/>
          </p:cNvSpPr>
          <p:nvPr/>
        </p:nvSpPr>
        <p:spPr bwMode="auto">
          <a:xfrm>
            <a:off x="6449047" y="4006723"/>
            <a:ext cx="229792" cy="229792"/>
          </a:xfrm>
          <a:prstGeom prst="ellipse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17">
            <a:extLst>
              <a:ext uri="{FF2B5EF4-FFF2-40B4-BE49-F238E27FC236}">
                <a16:creationId xmlns:a16="http://schemas.microsoft.com/office/drawing/2014/main" id="{5246D8E8-108B-33D4-6FDA-8443C673392C}"/>
              </a:ext>
            </a:extLst>
          </p:cNvPr>
          <p:cNvSpPr txBox="1">
            <a:spLocks/>
          </p:cNvSpPr>
          <p:nvPr/>
        </p:nvSpPr>
        <p:spPr bwMode="auto">
          <a:xfrm>
            <a:off x="5338095" y="4564912"/>
            <a:ext cx="2451695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Launched in </a:t>
            </a:r>
            <a:br>
              <a:rPr lang="en-US" sz="1800" kern="0" baseline="0" dirty="0">
                <a:latin typeface="+mn-lt"/>
                <a:ea typeface="+mn-ea"/>
                <a:cs typeface="+mn-cs"/>
              </a:rPr>
            </a:br>
            <a:r>
              <a:rPr lang="en-US" sz="1800" b="1" kern="0" dirty="0">
                <a:latin typeface="+mn-lt"/>
              </a:rPr>
              <a:t>February</a:t>
            </a:r>
            <a:r>
              <a:rPr lang="en-US" sz="1800" b="1" kern="0" baseline="0" dirty="0">
                <a:latin typeface="+mn-lt"/>
                <a:ea typeface="+mn-ea"/>
                <a:cs typeface="+mn-cs"/>
              </a:rPr>
              <a:t> 2022</a:t>
            </a:r>
          </a:p>
        </p:txBody>
      </p:sp>
      <p:sp>
        <p:nvSpPr>
          <p:cNvPr id="26" name="TextBox 18">
            <a:extLst>
              <a:ext uri="{FF2B5EF4-FFF2-40B4-BE49-F238E27FC236}">
                <a16:creationId xmlns:a16="http://schemas.microsoft.com/office/drawing/2014/main" id="{3708B6CB-BF12-29B7-5944-E3FE77D3DC90}"/>
              </a:ext>
            </a:extLst>
          </p:cNvPr>
          <p:cNvSpPr txBox="1">
            <a:spLocks/>
          </p:cNvSpPr>
          <p:nvPr/>
        </p:nvSpPr>
        <p:spPr bwMode="auto">
          <a:xfrm>
            <a:off x="8963689" y="4564912"/>
            <a:ext cx="215355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Launched in </a:t>
            </a:r>
            <a:br>
              <a:rPr lang="en-US" sz="1800" kern="0" baseline="0" dirty="0">
                <a:latin typeface="+mn-lt"/>
                <a:ea typeface="+mn-ea"/>
                <a:cs typeface="+mn-cs"/>
              </a:rPr>
            </a:br>
            <a:r>
              <a:rPr lang="en-US" sz="1800" b="1" kern="0" baseline="0" dirty="0">
                <a:latin typeface="+mn-lt"/>
                <a:ea typeface="+mn-ea"/>
                <a:cs typeface="+mn-cs"/>
              </a:rPr>
              <a:t>September 2022</a:t>
            </a:r>
          </a:p>
        </p:txBody>
      </p:sp>
    </p:spTree>
    <p:extLst>
      <p:ext uri="{BB962C8B-B14F-4D97-AF65-F5344CB8AC3E}">
        <p14:creationId xmlns:p14="http://schemas.microsoft.com/office/powerpoint/2010/main" val="29210433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6116A440-096D-8EC5-8655-77E9567F73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343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think-cell Folie" r:id="rId8" imgW="344" imgH="345" progId="TCLayout.ActiveDocument.1">
                  <p:embed/>
                </p:oleObj>
              </mc:Choice>
              <mc:Fallback>
                <p:oleObj name="think-cell Folie" r:id="rId8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CCCE16A-9AA2-572C-6676-72BC99684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key benefits with Infineon’s newest TPM family membe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37A2315-E20C-1FA3-7F40-0548CECBC9F2}"/>
              </a:ext>
            </a:extLst>
          </p:cNvPr>
          <p:cNvSpPr>
            <a:spLocks/>
          </p:cNvSpPr>
          <p:nvPr/>
        </p:nvSpPr>
        <p:spPr bwMode="auto">
          <a:xfrm>
            <a:off x="8255450" y="2797941"/>
            <a:ext cx="36000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b">
            <a:noAutofit/>
          </a:bodyPr>
          <a:lstStyle/>
          <a:p>
            <a:pPr eaLnBrk="0" hangingPunct="0"/>
            <a:r>
              <a:rPr lang="en-US" sz="2400" b="1" dirty="0">
                <a:latin typeface="+mn-lt"/>
                <a:ea typeface="Verdana" pitchFamily="34" charset="0"/>
                <a:cs typeface="Arial" panose="020B0604020202020204" pitchFamily="34" charset="0"/>
              </a:rPr>
              <a:t>Easy integratio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15DFFBE-F693-EA0B-849C-DEBDF48B82C1}"/>
              </a:ext>
            </a:extLst>
          </p:cNvPr>
          <p:cNvSpPr txBox="1">
            <a:spLocks/>
          </p:cNvSpPr>
          <p:nvPr/>
        </p:nvSpPr>
        <p:spPr bwMode="auto">
          <a:xfrm>
            <a:off x="8255450" y="3141751"/>
            <a:ext cx="3600000" cy="1370939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/>
              <a:t>Standardized Root of Trust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/>
              <a:t>Tools to support design activities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/>
              <a:t>Supports the latest version </a:t>
            </a:r>
            <a:br>
              <a:rPr lang="en-US" dirty="0"/>
            </a:br>
            <a:r>
              <a:rPr lang="en-US" dirty="0"/>
              <a:t>of Windows and Linux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id="{CE69F518-A993-BD98-2E82-3722825BC520}"/>
              </a:ext>
            </a:extLst>
          </p:cNvPr>
          <p:cNvSpPr/>
          <p:nvPr/>
        </p:nvSpPr>
        <p:spPr>
          <a:xfrm rot="5400000">
            <a:off x="10030251" y="1366951"/>
            <a:ext cx="50400" cy="3600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7" dirty="0">
              <a:cs typeface="Arial" panose="020B06040202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CA658A1-085B-8DAC-9EFA-90191F17E955}"/>
              </a:ext>
            </a:extLst>
          </p:cNvPr>
          <p:cNvSpPr>
            <a:spLocks/>
          </p:cNvSpPr>
          <p:nvPr/>
        </p:nvSpPr>
        <p:spPr bwMode="auto">
          <a:xfrm>
            <a:off x="4294942" y="2797941"/>
            <a:ext cx="36000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b">
            <a:noAutofit/>
          </a:bodyPr>
          <a:lstStyle/>
          <a:p>
            <a:pPr eaLnBrk="0" hangingPunct="0"/>
            <a:r>
              <a:rPr lang="en-US" sz="2400" b="1" dirty="0">
                <a:latin typeface="+mn-lt"/>
                <a:ea typeface="Verdana" pitchFamily="34" charset="0"/>
                <a:cs typeface="Arial" panose="020B0604020202020204" pitchFamily="34" charset="0"/>
              </a:rPr>
              <a:t>Robust security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6CDDAFD-BE5C-C6E3-5DC8-59CD8BC74AEC}"/>
              </a:ext>
            </a:extLst>
          </p:cNvPr>
          <p:cNvSpPr txBox="1"/>
          <p:nvPr/>
        </p:nvSpPr>
        <p:spPr bwMode="auto">
          <a:xfrm>
            <a:off x="4294942" y="3141751"/>
            <a:ext cx="3600000" cy="1924936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/>
              <a:t>Improved computational performances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/>
              <a:t>Resiliency features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/>
              <a:t>Fully compliant with the TCG requirements and certified accordingly</a:t>
            </a:r>
          </a:p>
        </p:txBody>
      </p:sp>
      <p:sp>
        <p:nvSpPr>
          <p:cNvPr id="10" name="Rectangle 116">
            <a:extLst>
              <a:ext uri="{FF2B5EF4-FFF2-40B4-BE49-F238E27FC236}">
                <a16:creationId xmlns:a16="http://schemas.microsoft.com/office/drawing/2014/main" id="{497AC0F2-CF40-C69B-E784-3D80A6601DB5}"/>
              </a:ext>
            </a:extLst>
          </p:cNvPr>
          <p:cNvSpPr>
            <a:spLocks/>
          </p:cNvSpPr>
          <p:nvPr/>
        </p:nvSpPr>
        <p:spPr>
          <a:xfrm rot="5400000">
            <a:off x="6069744" y="1366951"/>
            <a:ext cx="50400" cy="3600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7" dirty="0">
              <a:cs typeface="Arial" panose="020B0604020202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F7CEB6E-6733-11BF-9B65-0788C0ACBB04}"/>
              </a:ext>
            </a:extLst>
          </p:cNvPr>
          <p:cNvSpPr>
            <a:spLocks/>
          </p:cNvSpPr>
          <p:nvPr/>
        </p:nvSpPr>
        <p:spPr bwMode="auto">
          <a:xfrm>
            <a:off x="334434" y="2797941"/>
            <a:ext cx="36000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b">
            <a:noAutofit/>
          </a:bodyPr>
          <a:lstStyle/>
          <a:p>
            <a:pPr eaLnBrk="0" hangingPunct="0"/>
            <a:r>
              <a:rPr lang="en-US" sz="2400" b="1" dirty="0">
                <a:latin typeface="+mn-lt"/>
                <a:ea typeface="Verdana" pitchFamily="34" charset="0"/>
                <a:cs typeface="Arial" panose="020B0604020202020204" pitchFamily="34" charset="0"/>
              </a:rPr>
              <a:t>Future-proof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1783AB3-62A1-4684-2296-2854DF07BFA9}"/>
              </a:ext>
            </a:extLst>
          </p:cNvPr>
          <p:cNvSpPr txBox="1"/>
          <p:nvPr/>
        </p:nvSpPr>
        <p:spPr bwMode="auto">
          <a:xfrm>
            <a:off x="334434" y="3141751"/>
            <a:ext cx="3600000" cy="1647938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/>
              <a:t>PQC-protected firmware update mechanism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/>
              <a:t>Extended memory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/>
              <a:t>Stronger cryptographic algorithms</a:t>
            </a:r>
          </a:p>
        </p:txBody>
      </p:sp>
      <p:sp>
        <p:nvSpPr>
          <p:cNvPr id="13" name="Rectangle 116">
            <a:extLst>
              <a:ext uri="{FF2B5EF4-FFF2-40B4-BE49-F238E27FC236}">
                <a16:creationId xmlns:a16="http://schemas.microsoft.com/office/drawing/2014/main" id="{5CBA3057-1BC5-798C-C93D-B79F51D2DCC9}"/>
              </a:ext>
            </a:extLst>
          </p:cNvPr>
          <p:cNvSpPr>
            <a:spLocks/>
          </p:cNvSpPr>
          <p:nvPr/>
        </p:nvSpPr>
        <p:spPr>
          <a:xfrm rot="5400000">
            <a:off x="2109236" y="1366951"/>
            <a:ext cx="50400" cy="3600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7" dirty="0">
              <a:cs typeface="Arial" panose="020B0604020202020204" pitchFamily="34" charset="0"/>
            </a:endParaRPr>
          </a:p>
        </p:txBody>
      </p:sp>
      <p:pic>
        <p:nvPicPr>
          <p:cNvPr id="28" name="AI">
            <a:extLst>
              <a:ext uri="{FF2B5EF4-FFF2-40B4-BE49-F238E27FC236}">
                <a16:creationId xmlns:a16="http://schemas.microsoft.com/office/drawing/2014/main" id="{47C13E6B-F85F-9807-2C49-9D035710351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4434" y="1583495"/>
            <a:ext cx="900000" cy="900000"/>
          </a:xfrm>
          <a:prstGeom prst="rect">
            <a:avLst/>
          </a:prstGeom>
        </p:spPr>
      </p:pic>
      <p:pic>
        <p:nvPicPr>
          <p:cNvPr id="29" name="Network">
            <a:extLst>
              <a:ext uri="{FF2B5EF4-FFF2-40B4-BE49-F238E27FC236}">
                <a16:creationId xmlns:a16="http://schemas.microsoft.com/office/drawing/2014/main" id="{CD8A71D7-89D3-E6D1-CF28-84D175765D9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255450" y="1583497"/>
            <a:ext cx="899997" cy="899997"/>
          </a:xfrm>
          <a:prstGeom prst="rect">
            <a:avLst/>
          </a:prstGeom>
        </p:spPr>
      </p:pic>
      <p:pic>
        <p:nvPicPr>
          <p:cNvPr id="18" name="Connection shield">
            <a:extLst>
              <a:ext uri="{FF2B5EF4-FFF2-40B4-BE49-F238E27FC236}">
                <a16:creationId xmlns:a16="http://schemas.microsoft.com/office/drawing/2014/main" id="{1BE66D2F-20CF-440C-B53D-8127F240448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294942" y="1583495"/>
            <a:ext cx="899998" cy="899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49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2CAED09-3647-16ED-4282-F73BC1785F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5402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2" name="think-cell Folie" r:id="rId12" imgW="344" imgH="345" progId="TCLayout.ActiveDocument.1">
                  <p:embed/>
                </p:oleObj>
              </mc:Choice>
              <mc:Fallback>
                <p:oleObj name="think-cell Folie" r:id="rId12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86F4643-DB0B-58D7-0AA5-06B891D75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PTIGA™ TPM SLB 9673, a future-proof TPM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3F7F4754-8132-5CA6-780F-527F5C14C273}"/>
              </a:ext>
            </a:extLst>
          </p:cNvPr>
          <p:cNvSpPr>
            <a:spLocks/>
          </p:cNvSpPr>
          <p:nvPr/>
        </p:nvSpPr>
        <p:spPr bwMode="auto">
          <a:xfrm>
            <a:off x="335361" y="1268413"/>
            <a:ext cx="4068452" cy="4284823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defTabSz="576000" eaLnBrk="0" hangingPunct="0">
              <a:lnSpc>
                <a:spcPct val="120000"/>
              </a:lnSpc>
            </a:pPr>
            <a:r>
              <a:rPr lang="en-US" sz="1800" b="1" baseline="0" dirty="0">
                <a:latin typeface="+mn-lt"/>
                <a:ea typeface="+mn-ea"/>
                <a:cs typeface="+mn-cs"/>
              </a:rPr>
              <a:t>Previous generation TPM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12A395FC-B436-B058-858C-837F8F20AAA6}"/>
              </a:ext>
            </a:extLst>
          </p:cNvPr>
          <p:cNvSpPr>
            <a:spLocks/>
          </p:cNvSpPr>
          <p:nvPr/>
        </p:nvSpPr>
        <p:spPr bwMode="auto">
          <a:xfrm>
            <a:off x="6189038" y="1268414"/>
            <a:ext cx="4068452" cy="4284823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defTabSz="576000" eaLnBrk="0" hangingPunct="0">
              <a:lnSpc>
                <a:spcPct val="120000"/>
              </a:lnSpc>
            </a:pPr>
            <a:r>
              <a:rPr lang="en-US" sz="1800" b="1" dirty="0">
                <a:latin typeface="+mn-lt"/>
              </a:rPr>
              <a:t>OPTIGA™ TPM SLB 9673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65383CDB-CD01-167D-48FF-0D5511DDBF3F}"/>
              </a:ext>
            </a:extLst>
          </p:cNvPr>
          <p:cNvSpPr txBox="1">
            <a:spLocks/>
          </p:cNvSpPr>
          <p:nvPr/>
        </p:nvSpPr>
        <p:spPr bwMode="auto">
          <a:xfrm>
            <a:off x="335360" y="5632350"/>
            <a:ext cx="406845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defTabSz="576000" eaLnBrk="0" hangingPunct="0">
              <a:lnSpc>
                <a:spcPct val="120000"/>
              </a:lnSpc>
              <a:defRPr sz="1600">
                <a:latin typeface="+mn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TCG certified Version 2</a:t>
            </a:r>
          </a:p>
          <a:p>
            <a:pPr>
              <a:lnSpc>
                <a:spcPct val="100000"/>
              </a:lnSpc>
            </a:pPr>
            <a:r>
              <a:rPr lang="en-US" sz="1200" dirty="0"/>
              <a:t>As per Revision 1.38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F8FBCBF8-83C9-8F6C-B880-C46D07C6F7D6}"/>
              </a:ext>
            </a:extLst>
          </p:cNvPr>
          <p:cNvSpPr txBox="1">
            <a:spLocks/>
          </p:cNvSpPr>
          <p:nvPr/>
        </p:nvSpPr>
        <p:spPr bwMode="auto">
          <a:xfrm>
            <a:off x="6189038" y="5621126"/>
            <a:ext cx="406845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defTabSz="576000" eaLnBrk="0" hangingPunct="0">
              <a:lnSpc>
                <a:spcPct val="120000"/>
              </a:lnSpc>
              <a:defRPr sz="1600">
                <a:latin typeface="+mn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TCG certified Version 2</a:t>
            </a:r>
          </a:p>
          <a:p>
            <a:pPr>
              <a:lnSpc>
                <a:spcPct val="100000"/>
              </a:lnSpc>
            </a:pPr>
            <a:r>
              <a:rPr lang="en-US" sz="1200" dirty="0"/>
              <a:t>As per Revision </a:t>
            </a:r>
            <a:r>
              <a:rPr lang="en-US" sz="1200" b="1" dirty="0"/>
              <a:t>1.59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0B06ED5B-2E40-51B5-F1B8-87FA72929414}"/>
              </a:ext>
            </a:extLst>
          </p:cNvPr>
          <p:cNvSpPr txBox="1">
            <a:spLocks/>
          </p:cNvSpPr>
          <p:nvPr/>
        </p:nvSpPr>
        <p:spPr bwMode="auto">
          <a:xfrm>
            <a:off x="10510186" y="3629250"/>
            <a:ext cx="133572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defTabSz="576000" eaLnBrk="0" hangingPunct="0">
              <a:lnSpc>
                <a:spcPct val="100000"/>
              </a:lnSpc>
              <a:defRPr sz="1600">
                <a:latin typeface="+mn-lt"/>
              </a:defRPr>
            </a:lvl1pPr>
          </a:lstStyle>
          <a:p>
            <a:r>
              <a:rPr lang="en-US" sz="1200" dirty="0"/>
              <a:t>RSA 3k &amp; 4k</a:t>
            </a:r>
          </a:p>
          <a:p>
            <a:r>
              <a:rPr lang="en-US" sz="1200" dirty="0"/>
              <a:t>SHA-384, ECC 384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5352AC3F-09BE-888B-48C3-14EF9A03BAB4}"/>
              </a:ext>
            </a:extLst>
          </p:cNvPr>
          <p:cNvSpPr txBox="1">
            <a:spLocks/>
          </p:cNvSpPr>
          <p:nvPr/>
        </p:nvSpPr>
        <p:spPr bwMode="auto">
          <a:xfrm>
            <a:off x="10510186" y="4471124"/>
            <a:ext cx="133572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defTabSz="576000" eaLnBrk="0" hangingPunct="0">
              <a:lnSpc>
                <a:spcPct val="100000"/>
              </a:lnSpc>
              <a:defRPr sz="1600">
                <a:latin typeface="+mn-lt"/>
              </a:defRPr>
            </a:lvl1pPr>
          </a:lstStyle>
          <a:p>
            <a:r>
              <a:rPr lang="en-US" sz="1200" dirty="0"/>
              <a:t>To avoid any risk </a:t>
            </a:r>
            <a:br>
              <a:rPr lang="en-US" sz="1200" dirty="0"/>
            </a:br>
            <a:r>
              <a:rPr lang="en-US" sz="1200" dirty="0"/>
              <a:t>of FW corruption</a:t>
            </a:r>
          </a:p>
        </p:txBody>
      </p:sp>
      <p:sp>
        <p:nvSpPr>
          <p:cNvPr id="45" name="Textfeld 55">
            <a:extLst>
              <a:ext uri="{FF2B5EF4-FFF2-40B4-BE49-F238E27FC236}">
                <a16:creationId xmlns:a16="http://schemas.microsoft.com/office/drawing/2014/main" id="{166495A1-39D2-979D-68A4-DE744351F797}"/>
              </a:ext>
            </a:extLst>
          </p:cNvPr>
          <p:cNvSpPr txBox="1">
            <a:spLocks/>
          </p:cNvSpPr>
          <p:nvPr/>
        </p:nvSpPr>
        <p:spPr bwMode="auto">
          <a:xfrm>
            <a:off x="10510186" y="2861260"/>
            <a:ext cx="133572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defTabSz="576000" eaLnBrk="0" hangingPunct="0">
              <a:lnSpc>
                <a:spcPct val="100000"/>
              </a:lnSpc>
              <a:defRPr sz="1600">
                <a:latin typeface="+mn-lt"/>
              </a:defRPr>
            </a:lvl1pPr>
          </a:lstStyle>
          <a:p>
            <a:r>
              <a:rPr lang="en-US" sz="1200" dirty="0"/>
              <a:t>Quantum resistant</a:t>
            </a:r>
          </a:p>
        </p:txBody>
      </p:sp>
      <p:sp>
        <p:nvSpPr>
          <p:cNvPr id="74" name="Arrow: Chevron 31">
            <a:extLst>
              <a:ext uri="{FF2B5EF4-FFF2-40B4-BE49-F238E27FC236}">
                <a16:creationId xmlns:a16="http://schemas.microsoft.com/office/drawing/2014/main" id="{DBC5BEE4-BEF0-A9D7-0547-DCC07C479E09}"/>
              </a:ext>
            </a:extLst>
          </p:cNvPr>
          <p:cNvSpPr>
            <a:spLocks/>
          </p:cNvSpPr>
          <p:nvPr/>
        </p:nvSpPr>
        <p:spPr bwMode="auto">
          <a:xfrm>
            <a:off x="10092444" y="2737569"/>
            <a:ext cx="287529" cy="432048"/>
          </a:xfrm>
          <a:prstGeom prst="chevron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/>
            <a:endParaRPr lang="en-US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5" name="Arrow: Chevron 31">
            <a:extLst>
              <a:ext uri="{FF2B5EF4-FFF2-40B4-BE49-F238E27FC236}">
                <a16:creationId xmlns:a16="http://schemas.microsoft.com/office/drawing/2014/main" id="{C778407B-5888-AF70-80F5-738CB0284557}"/>
              </a:ext>
            </a:extLst>
          </p:cNvPr>
          <p:cNvSpPr>
            <a:spLocks/>
          </p:cNvSpPr>
          <p:nvPr/>
        </p:nvSpPr>
        <p:spPr bwMode="auto">
          <a:xfrm>
            <a:off x="10092444" y="3597892"/>
            <a:ext cx="287529" cy="432048"/>
          </a:xfrm>
          <a:prstGeom prst="chevron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/>
            <a:endParaRPr lang="en-US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6" name="Arrow: Chevron 31">
            <a:extLst>
              <a:ext uri="{FF2B5EF4-FFF2-40B4-BE49-F238E27FC236}">
                <a16:creationId xmlns:a16="http://schemas.microsoft.com/office/drawing/2014/main" id="{B5DED0B0-3C04-75D1-0EDF-BF0B241C9F2D}"/>
              </a:ext>
            </a:extLst>
          </p:cNvPr>
          <p:cNvSpPr>
            <a:spLocks/>
          </p:cNvSpPr>
          <p:nvPr/>
        </p:nvSpPr>
        <p:spPr bwMode="auto">
          <a:xfrm>
            <a:off x="10092444" y="4439765"/>
            <a:ext cx="287529" cy="432048"/>
          </a:xfrm>
          <a:prstGeom prst="chevron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108000" bIns="72000" rtlCol="0" anchor="ctr"/>
          <a:lstStyle/>
          <a:p>
            <a:pPr eaLnBrk="0" hangingPunct="0"/>
            <a:endParaRPr lang="en-US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09F96016-72B2-676F-6B81-EA992A0F5DC1}"/>
              </a:ext>
            </a:extLst>
          </p:cNvPr>
          <p:cNvSpPr txBox="1">
            <a:spLocks/>
          </p:cNvSpPr>
          <p:nvPr/>
        </p:nvSpPr>
        <p:spPr bwMode="auto">
          <a:xfrm>
            <a:off x="6315052" y="2053722"/>
            <a:ext cx="3681139" cy="424464"/>
          </a:xfrm>
          <a:prstGeom prst="rect">
            <a:avLst/>
          </a:prstGeom>
          <a:solidFill>
            <a:srgbClr val="6CB4AD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72000" rIns="108000" bIns="72000" rtlCol="0" anchor="ctr" anchorCtr="0">
            <a:noAutofit/>
          </a:bodyPr>
          <a:lstStyle/>
          <a:p>
            <a:pPr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US" sz="1600" b="1" dirty="0">
                <a:solidFill>
                  <a:schemeClr val="bg1"/>
                </a:solidFill>
                <a:latin typeface="+mn-lt"/>
              </a:rPr>
              <a:t>Firmware update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1BB4192E-DB0E-4817-D796-4387D8C77228}"/>
              </a:ext>
            </a:extLst>
          </p:cNvPr>
          <p:cNvSpPr txBox="1"/>
          <p:nvPr/>
        </p:nvSpPr>
        <p:spPr bwMode="auto">
          <a:xfrm>
            <a:off x="8122273" y="2915740"/>
            <a:ext cx="1309147" cy="546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300" b="1" dirty="0">
                <a:solidFill>
                  <a:schemeClr val="bg1"/>
                </a:solidFill>
              </a:rPr>
              <a:t>XMSS </a:t>
            </a:r>
            <a:endParaRPr lang="en-US" sz="1300" b="1" kern="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264FD5B9-46CC-DDC6-53BE-20C94C3C6338}"/>
              </a:ext>
            </a:extLst>
          </p:cNvPr>
          <p:cNvSpPr>
            <a:spLocks/>
          </p:cNvSpPr>
          <p:nvPr/>
        </p:nvSpPr>
        <p:spPr bwMode="auto">
          <a:xfrm>
            <a:off x="6315052" y="3429000"/>
            <a:ext cx="3681139" cy="769831"/>
          </a:xfrm>
          <a:prstGeom prst="rect">
            <a:avLst/>
          </a:prstGeom>
          <a:solidFill>
            <a:srgbClr val="6CB4AD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eaLnBrk="0" hangingPunct="0"/>
            <a:r>
              <a:rPr lang="en-US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New stronger</a:t>
            </a:r>
          </a:p>
          <a:p>
            <a:pPr eaLnBrk="0" hangingPunct="0"/>
            <a:r>
              <a:rPr lang="en-US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rypto algorithm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883B0233-454E-1D4F-0787-CE28CA7F8C94}"/>
              </a:ext>
            </a:extLst>
          </p:cNvPr>
          <p:cNvSpPr>
            <a:spLocks/>
          </p:cNvSpPr>
          <p:nvPr/>
        </p:nvSpPr>
        <p:spPr bwMode="auto">
          <a:xfrm>
            <a:off x="6315052" y="4270874"/>
            <a:ext cx="3681139" cy="769831"/>
          </a:xfrm>
          <a:prstGeom prst="rect">
            <a:avLst/>
          </a:prstGeom>
          <a:solidFill>
            <a:srgbClr val="6CB4AD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eaLnBrk="0" hangingPunct="0"/>
            <a:r>
              <a:rPr lang="en-US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Resiliency</a:t>
            </a:r>
          </a:p>
          <a:p>
            <a:pPr eaLnBrk="0" hangingPunct="0"/>
            <a:r>
              <a:rPr lang="en-US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eatur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89E93B66-561E-5509-B2CD-83E06E907386}"/>
              </a:ext>
            </a:extLst>
          </p:cNvPr>
          <p:cNvSpPr>
            <a:spLocks/>
          </p:cNvSpPr>
          <p:nvPr/>
        </p:nvSpPr>
        <p:spPr bwMode="auto">
          <a:xfrm>
            <a:off x="6315052" y="2550229"/>
            <a:ext cx="1804569" cy="806728"/>
          </a:xfrm>
          <a:prstGeom prst="rect">
            <a:avLst/>
          </a:prstGeom>
          <a:solidFill>
            <a:srgbClr val="DCD5D7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defTabSz="576000" eaLnBrk="0" hangingPunct="0"/>
            <a:r>
              <a:rPr lang="en-US" sz="1600" baseline="0" dirty="0">
                <a:latin typeface="+mn-lt"/>
                <a:ea typeface="+mn-ea"/>
                <a:cs typeface="+mn-cs"/>
              </a:rPr>
              <a:t>ECDSA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83E00A7F-3858-35A5-32BD-6156A26759F8}"/>
              </a:ext>
            </a:extLst>
          </p:cNvPr>
          <p:cNvSpPr>
            <a:spLocks/>
          </p:cNvSpPr>
          <p:nvPr/>
        </p:nvSpPr>
        <p:spPr bwMode="auto">
          <a:xfrm>
            <a:off x="8191622" y="2550229"/>
            <a:ext cx="1804569" cy="806728"/>
          </a:xfrm>
          <a:prstGeom prst="rect">
            <a:avLst/>
          </a:prstGeom>
          <a:solidFill>
            <a:srgbClr val="B8DEDA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defTabSz="576000" eaLnBrk="0" hangingPunct="0"/>
            <a:r>
              <a:rPr lang="en-US" sz="1600" baseline="0" dirty="0">
                <a:latin typeface="+mn-lt"/>
                <a:ea typeface="+mn-ea"/>
                <a:cs typeface="+mn-cs"/>
              </a:rPr>
              <a:t>XMSS </a:t>
            </a:r>
          </a:p>
        </p:txBody>
      </p:sp>
      <p:pic>
        <p:nvPicPr>
          <p:cNvPr id="83" name="Award">
            <a:extLst>
              <a:ext uri="{FF2B5EF4-FFF2-40B4-BE49-F238E27FC236}">
                <a16:creationId xmlns:a16="http://schemas.microsoft.com/office/drawing/2014/main" id="{EFBF1D86-0014-0495-E00B-A20AFBBAC3D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524003" y="2878338"/>
            <a:ext cx="385157" cy="385157"/>
          </a:xfrm>
          <a:prstGeom prst="rect">
            <a:avLst/>
          </a:prstGeom>
        </p:spPr>
      </p:pic>
      <p:pic>
        <p:nvPicPr>
          <p:cNvPr id="84" name="Award">
            <a:extLst>
              <a:ext uri="{FF2B5EF4-FFF2-40B4-BE49-F238E27FC236}">
                <a16:creationId xmlns:a16="http://schemas.microsoft.com/office/drawing/2014/main" id="{0F4FB055-0BBD-8183-2905-A93A56A8F7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701115" y="2878338"/>
            <a:ext cx="385157" cy="385157"/>
          </a:xfrm>
          <a:prstGeom prst="rect">
            <a:avLst/>
          </a:prstGeom>
        </p:spPr>
      </p:pic>
      <p:pic>
        <p:nvPicPr>
          <p:cNvPr id="85" name="Thumb up">
            <a:extLst>
              <a:ext uri="{FF2B5EF4-FFF2-40B4-BE49-F238E27FC236}">
                <a16:creationId xmlns:a16="http://schemas.microsoft.com/office/drawing/2014/main" id="{C1833826-8149-A3F1-BBFB-76E55F95E33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066803" y="2878338"/>
            <a:ext cx="385157" cy="385157"/>
          </a:xfrm>
          <a:prstGeom prst="rect">
            <a:avLst/>
          </a:prstGeom>
        </p:spPr>
      </p:pic>
      <p:pic>
        <p:nvPicPr>
          <p:cNvPr id="86" name="Web">
            <a:extLst>
              <a:ext uri="{FF2B5EF4-FFF2-40B4-BE49-F238E27FC236}">
                <a16:creationId xmlns:a16="http://schemas.microsoft.com/office/drawing/2014/main" id="{4D8E64A7-6CF4-9B4D-BD24-576556FF3B0F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568158" y="2102862"/>
            <a:ext cx="326183" cy="32618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9CA98AA0-4577-BDEB-46C6-8FE718B6A779}"/>
              </a:ext>
            </a:extLst>
          </p:cNvPr>
          <p:cNvSpPr txBox="1">
            <a:spLocks/>
          </p:cNvSpPr>
          <p:nvPr/>
        </p:nvSpPr>
        <p:spPr bwMode="auto">
          <a:xfrm>
            <a:off x="461375" y="2053722"/>
            <a:ext cx="3816424" cy="424464"/>
          </a:xfrm>
          <a:prstGeom prst="rect">
            <a:avLst/>
          </a:prstGeom>
          <a:solidFill>
            <a:srgbClr val="6CB4AD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72000" rIns="108000" bIns="72000" rtlCol="0" anchor="ctr" anchorCtr="0">
            <a:noAutofit/>
          </a:bodyPr>
          <a:lstStyle/>
          <a:p>
            <a:pPr marR="0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</a:rPr>
              <a:t>Firmware update</a:t>
            </a:r>
            <a:endParaRPr lang="en-US" sz="1600" b="1" kern="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BF7CF17-60DA-F5A7-8B23-BD7E5B23F1B1}"/>
              </a:ext>
            </a:extLst>
          </p:cNvPr>
          <p:cNvSpPr>
            <a:spLocks/>
          </p:cNvSpPr>
          <p:nvPr/>
        </p:nvSpPr>
        <p:spPr bwMode="auto">
          <a:xfrm>
            <a:off x="461375" y="2550229"/>
            <a:ext cx="1908212" cy="806728"/>
          </a:xfrm>
          <a:prstGeom prst="rect">
            <a:avLst/>
          </a:prstGeom>
          <a:solidFill>
            <a:srgbClr val="DCD5D7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defTabSz="576000" eaLnBrk="0" hangingPunct="0"/>
            <a:r>
              <a:rPr lang="en-US" sz="1600" baseline="0" dirty="0">
                <a:latin typeface="+mn-lt"/>
                <a:ea typeface="+mn-ea"/>
                <a:cs typeface="+mn-cs"/>
              </a:rPr>
              <a:t>ECDSA</a:t>
            </a:r>
          </a:p>
        </p:txBody>
      </p:sp>
      <p:pic>
        <p:nvPicPr>
          <p:cNvPr id="89" name="Award">
            <a:extLst>
              <a:ext uri="{FF2B5EF4-FFF2-40B4-BE49-F238E27FC236}">
                <a16:creationId xmlns:a16="http://schemas.microsoft.com/office/drawing/2014/main" id="{92DE5E3D-9994-5EB0-DECD-756BC5C99F9C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797030" y="2878338"/>
            <a:ext cx="385157" cy="385157"/>
          </a:xfrm>
          <a:prstGeom prst="rect">
            <a:avLst/>
          </a:prstGeom>
        </p:spPr>
      </p:pic>
      <p:pic>
        <p:nvPicPr>
          <p:cNvPr id="90" name="Web">
            <a:extLst>
              <a:ext uri="{FF2B5EF4-FFF2-40B4-BE49-F238E27FC236}">
                <a16:creationId xmlns:a16="http://schemas.microsoft.com/office/drawing/2014/main" id="{EDC53A74-1696-512A-4A41-2B72C2E0E2F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814682" y="2102862"/>
            <a:ext cx="326183" cy="326183"/>
          </a:xfrm>
          <a:prstGeom prst="rect">
            <a:avLst/>
          </a:prstGeom>
        </p:spPr>
      </p:pic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9A953DF7-CD26-CE2A-9210-025DCE362042}"/>
              </a:ext>
            </a:extLst>
          </p:cNvPr>
          <p:cNvGrpSpPr>
            <a:grpSpLocks/>
          </p:cNvGrpSpPr>
          <p:nvPr/>
        </p:nvGrpSpPr>
        <p:grpSpPr>
          <a:xfrm>
            <a:off x="4499779" y="3194800"/>
            <a:ext cx="1809898" cy="432048"/>
            <a:chOff x="4480323" y="2389080"/>
            <a:chExt cx="1809898" cy="432048"/>
          </a:xfrm>
        </p:grpSpPr>
        <p:sp>
          <p:nvSpPr>
            <p:cNvPr id="92" name="Textfeld 55">
              <a:extLst>
                <a:ext uri="{FF2B5EF4-FFF2-40B4-BE49-F238E27FC236}">
                  <a16:creationId xmlns:a16="http://schemas.microsoft.com/office/drawing/2014/main" id="{B0B47D4F-9407-3D1A-B659-41E94EBC3B8B}"/>
                </a:ext>
              </a:extLst>
            </p:cNvPr>
            <p:cNvSpPr txBox="1"/>
            <p:nvPr/>
          </p:nvSpPr>
          <p:spPr bwMode="auto">
            <a:xfrm>
              <a:off x="4480323" y="2481994"/>
              <a:ext cx="1481015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 defTabSz="576000" eaLnBrk="0" hangingPunct="0">
                <a:lnSpc>
                  <a:spcPct val="100000"/>
                </a:lnSpc>
                <a:defRPr sz="1600">
                  <a:latin typeface="+mn-lt"/>
                </a:defRPr>
              </a:lvl1pPr>
            </a:lstStyle>
            <a:p>
              <a:pPr algn="r"/>
              <a:r>
                <a:rPr lang="en-US" b="1" dirty="0">
                  <a:solidFill>
                    <a:schemeClr val="tx2"/>
                  </a:solidFill>
                </a:rPr>
                <a:t>Improvements</a:t>
              </a:r>
            </a:p>
          </p:txBody>
        </p:sp>
        <p:sp>
          <p:nvSpPr>
            <p:cNvPr id="93" name="Arrow: Chevron 31">
              <a:extLst>
                <a:ext uri="{FF2B5EF4-FFF2-40B4-BE49-F238E27FC236}">
                  <a16:creationId xmlns:a16="http://schemas.microsoft.com/office/drawing/2014/main" id="{40EE8648-8DE7-7C2A-25B9-3E412BDA7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2692" y="2389080"/>
              <a:ext cx="287529" cy="432048"/>
            </a:xfrm>
            <a:prstGeom prst="chevron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108000" tIns="72000" rIns="108000" bIns="72000" rtlCol="0" anchor="ctr"/>
            <a:lstStyle/>
            <a:p>
              <a:pPr eaLnBrk="0" hangingPunct="0"/>
              <a:endParaRPr lang="en-US" sz="1600" baseline="0" dirty="0"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94" name="Attention">
            <a:extLst>
              <a:ext uri="{FF2B5EF4-FFF2-40B4-BE49-F238E27FC236}">
                <a16:creationId xmlns:a16="http://schemas.microsoft.com/office/drawing/2014/main" id="{FB696B4E-74A6-0D09-9ACE-11E8EFF7437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313997" y="2878338"/>
            <a:ext cx="385158" cy="385158"/>
          </a:xfrm>
          <a:prstGeom prst="rect">
            <a:avLst/>
          </a:prstGeom>
        </p:spPr>
      </p:pic>
      <p:pic>
        <p:nvPicPr>
          <p:cNvPr id="95" name="Attention">
            <a:extLst>
              <a:ext uri="{FF2B5EF4-FFF2-40B4-BE49-F238E27FC236}">
                <a16:creationId xmlns:a16="http://schemas.microsoft.com/office/drawing/2014/main" id="{9A0B3B83-A6C2-8239-C291-F083E51F587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96778" y="2878338"/>
            <a:ext cx="385158" cy="385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4647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2B42489-F167-D08E-C869-9A15650317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9335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tangle 7">
            <a:extLst>
              <a:ext uri="{FF2B5EF4-FFF2-40B4-BE49-F238E27FC236}">
                <a16:creationId xmlns:a16="http://schemas.microsoft.com/office/drawing/2014/main" id="{9772D2F3-1A38-A9D2-096D-C56534D8438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64310" y="1268414"/>
            <a:ext cx="2744728" cy="511333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wrap="square" lIns="108000" tIns="72000" rIns="108000" bIns="72000" anchor="t">
            <a:noAutofit/>
          </a:bodyPr>
          <a:lstStyle/>
          <a:p>
            <a:pPr fontAlgn="auto">
              <a:spcBef>
                <a:spcPct val="25000"/>
              </a:spcBef>
              <a:buClr>
                <a:srgbClr val="B70D28"/>
              </a:buClr>
              <a:defRPr/>
            </a:pPr>
            <a:r>
              <a:rPr lang="en-US" sz="1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673 </a:t>
            </a:r>
            <a:br>
              <a:rPr lang="en-US" sz="1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W 26.xx</a:t>
            </a:r>
            <a:endParaRPr lang="en-US" sz="2000" b="1" kern="0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9098C1-EC76-22CF-B468-6B00265AF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PTIGA™ TPM SLB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16028AD-7C67-3229-73E4-4547F92A3B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9113765" y="1268414"/>
            <a:ext cx="2744728" cy="5113335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</a:ln>
          <a:effectLst/>
        </p:spPr>
        <p:txBody>
          <a:bodyPr wrap="square" lIns="108000" tIns="72000" rIns="108000" bIns="72000" anchor="t">
            <a:noAutofit/>
          </a:bodyPr>
          <a:lstStyle/>
          <a:p>
            <a:pPr fontAlgn="auto">
              <a:spcBef>
                <a:spcPct val="25000"/>
              </a:spcBef>
              <a:buClr>
                <a:srgbClr val="B70D28"/>
              </a:buClr>
              <a:defRPr/>
            </a:pPr>
            <a:r>
              <a:rPr lang="en-US" sz="1800" kern="0" dirty="0">
                <a:latin typeface="Arial" panose="020B0604020202020204" pitchFamily="34" charset="0"/>
                <a:cs typeface="Arial" panose="020B0604020202020204" pitchFamily="34" charset="0"/>
              </a:rPr>
              <a:t>9672 </a:t>
            </a:r>
            <a:br>
              <a:rPr lang="en-US" sz="18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W 16.xx</a:t>
            </a:r>
            <a:endParaRPr lang="en-US" sz="2000" b="1" kern="0" baseline="30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F6656831-0EE8-9F75-DB4C-249066389FC4}"/>
              </a:ext>
            </a:extLst>
          </p:cNvPr>
          <p:cNvCxnSpPr>
            <a:cxnSpLocks/>
          </p:cNvCxnSpPr>
          <p:nvPr/>
        </p:nvCxnSpPr>
        <p:spPr>
          <a:xfrm>
            <a:off x="9238525" y="3801968"/>
            <a:ext cx="249520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EB7CD3C9-EC04-35F5-EB17-B30DF99FAA49}"/>
              </a:ext>
            </a:extLst>
          </p:cNvPr>
          <p:cNvCxnSpPr>
            <a:cxnSpLocks/>
          </p:cNvCxnSpPr>
          <p:nvPr/>
        </p:nvCxnSpPr>
        <p:spPr>
          <a:xfrm>
            <a:off x="9238525" y="3009857"/>
            <a:ext cx="249520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7C9058E6-1A91-4CC9-BECC-72888C3FD4E9}"/>
              </a:ext>
            </a:extLst>
          </p:cNvPr>
          <p:cNvCxnSpPr>
            <a:cxnSpLocks/>
          </p:cNvCxnSpPr>
          <p:nvPr/>
        </p:nvCxnSpPr>
        <p:spPr>
          <a:xfrm>
            <a:off x="9238525" y="4451912"/>
            <a:ext cx="249520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BE608071-A3D8-4472-3EDA-F72EB996423A}"/>
              </a:ext>
            </a:extLst>
          </p:cNvPr>
          <p:cNvCxnSpPr>
            <a:cxnSpLocks/>
          </p:cNvCxnSpPr>
          <p:nvPr/>
        </p:nvCxnSpPr>
        <p:spPr>
          <a:xfrm>
            <a:off x="9238525" y="5609633"/>
            <a:ext cx="249520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7">
            <a:extLst>
              <a:ext uri="{FF2B5EF4-FFF2-40B4-BE49-F238E27FC236}">
                <a16:creationId xmlns:a16="http://schemas.microsoft.com/office/drawing/2014/main" id="{5DEF88DC-E230-9287-6408-199884C79A43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89038" y="1268414"/>
            <a:ext cx="2744728" cy="5113335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</a:ln>
          <a:effectLst/>
        </p:spPr>
        <p:txBody>
          <a:bodyPr wrap="square" lIns="108000" tIns="72000" rIns="108000" bIns="72000" anchor="t">
            <a:noAutofit/>
          </a:bodyPr>
          <a:lstStyle/>
          <a:p>
            <a:pPr fontAlgn="auto">
              <a:spcBef>
                <a:spcPct val="25000"/>
              </a:spcBef>
              <a:buClr>
                <a:srgbClr val="B70D28"/>
              </a:buClr>
              <a:defRPr/>
            </a:pPr>
            <a:r>
              <a:rPr lang="en-US" sz="1800" kern="0" dirty="0">
                <a:latin typeface="Arial" panose="020B0604020202020204" pitchFamily="34" charset="0"/>
                <a:cs typeface="Arial" panose="020B0604020202020204" pitchFamily="34" charset="0"/>
              </a:rPr>
              <a:t>9672 </a:t>
            </a:r>
            <a:br>
              <a:rPr lang="en-US" sz="18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W 15.xx</a:t>
            </a:r>
            <a:endParaRPr lang="en-US" sz="2000" b="1" kern="0" baseline="30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34DC63AB-D2D9-17CD-DF57-1B731887D4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89038" y="3058177"/>
            <a:ext cx="2744728" cy="55383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square" lIns="0" tIns="0" rIns="0" bIns="0" anchor="ctr" anchorCtr="1"/>
          <a:lstStyle/>
          <a:p>
            <a:pPr defTabSz="865145" fontAlgn="auto">
              <a:spcAft>
                <a:spcPts val="600"/>
              </a:spcAft>
              <a:buClr>
                <a:srgbClr val="B70D28"/>
              </a:buClr>
              <a:defRPr/>
            </a:pPr>
            <a:endParaRPr lang="en-US" sz="1800" kern="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1346BEDD-CAE5-252D-41F0-386CB0290333}"/>
              </a:ext>
            </a:extLst>
          </p:cNvPr>
          <p:cNvCxnSpPr>
            <a:cxnSpLocks/>
          </p:cNvCxnSpPr>
          <p:nvPr/>
        </p:nvCxnSpPr>
        <p:spPr>
          <a:xfrm>
            <a:off x="6313798" y="3801968"/>
            <a:ext cx="249520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A4B49EDA-0F7A-A173-7B3E-AFCD9EC9D028}"/>
              </a:ext>
            </a:extLst>
          </p:cNvPr>
          <p:cNvCxnSpPr>
            <a:cxnSpLocks/>
          </p:cNvCxnSpPr>
          <p:nvPr/>
        </p:nvCxnSpPr>
        <p:spPr>
          <a:xfrm>
            <a:off x="6313798" y="3009857"/>
            <a:ext cx="249520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F289C41A-D0DC-8A4C-D2FC-150AF9986B05}"/>
              </a:ext>
            </a:extLst>
          </p:cNvPr>
          <p:cNvCxnSpPr>
            <a:cxnSpLocks/>
          </p:cNvCxnSpPr>
          <p:nvPr/>
        </p:nvCxnSpPr>
        <p:spPr>
          <a:xfrm>
            <a:off x="6313798" y="4451912"/>
            <a:ext cx="249520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D059C0A-A8AF-E52A-271D-E4620FC9A03A}"/>
              </a:ext>
            </a:extLst>
          </p:cNvPr>
          <p:cNvCxnSpPr>
            <a:cxnSpLocks/>
          </p:cNvCxnSpPr>
          <p:nvPr/>
        </p:nvCxnSpPr>
        <p:spPr>
          <a:xfrm>
            <a:off x="6313798" y="5609633"/>
            <a:ext cx="249520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4">
            <a:extLst>
              <a:ext uri="{FF2B5EF4-FFF2-40B4-BE49-F238E27FC236}">
                <a16:creationId xmlns:a16="http://schemas.microsoft.com/office/drawing/2014/main" id="{5E7C5FFD-4272-8ECE-0286-885E4919944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9583" y="5777638"/>
            <a:ext cx="2744727" cy="32780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anchor="ctr">
            <a:noAutofit/>
          </a:bodyPr>
          <a:lstStyle/>
          <a:p>
            <a:pPr fontAlgn="auto">
              <a:spcBef>
                <a:spcPct val="25000"/>
              </a:spcBef>
              <a:spcAft>
                <a:spcPct val="25000"/>
              </a:spcAft>
              <a:buClr>
                <a:srgbClr val="B70D28"/>
              </a:buClr>
              <a:defRPr/>
            </a:pPr>
            <a:r>
              <a:rPr lang="en-US" sz="1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ility</a:t>
            </a: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F5825F84-3A78-B9D6-F4DD-96F2F3A3CD6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9583" y="4616583"/>
            <a:ext cx="2744727" cy="32780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anchor="ctr">
            <a:noAutofit/>
          </a:bodyPr>
          <a:lstStyle/>
          <a:p>
            <a:pPr fontAlgn="auto">
              <a:spcBef>
                <a:spcPct val="25000"/>
              </a:spcBef>
              <a:spcAft>
                <a:spcPct val="25000"/>
              </a:spcAft>
              <a:buClr>
                <a:srgbClr val="B70D28"/>
              </a:buClr>
              <a:defRPr/>
            </a:pPr>
            <a:r>
              <a:rPr lang="en-US" sz="1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face speed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058B4F6-1CA6-8204-5B8C-DCC43AE823E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9583" y="3964972"/>
            <a:ext cx="2744727" cy="32780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anchor="ctr">
            <a:noAutofit/>
          </a:bodyPr>
          <a:lstStyle/>
          <a:p>
            <a:pPr fontAlgn="auto">
              <a:spcBef>
                <a:spcPct val="25000"/>
              </a:spcBef>
              <a:spcAft>
                <a:spcPct val="25000"/>
              </a:spcAft>
              <a:buClr>
                <a:srgbClr val="B70D28"/>
              </a:buClr>
              <a:defRPr/>
            </a:pPr>
            <a:r>
              <a:rPr lang="en-US" sz="1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erature range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C66083CB-7F28-27F1-B74C-EC0A3BE7E31F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9582" y="2544985"/>
            <a:ext cx="2744727" cy="2769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anchor="ctr">
            <a:noAutofit/>
          </a:bodyPr>
          <a:lstStyle/>
          <a:p>
            <a:pPr fontAlgn="auto">
              <a:spcBef>
                <a:spcPct val="25000"/>
              </a:spcBef>
              <a:spcAft>
                <a:spcPct val="25000"/>
              </a:spcAft>
              <a:buClr>
                <a:srgbClr val="B70D28"/>
              </a:buClr>
              <a:defRPr/>
            </a:pPr>
            <a:r>
              <a:rPr lang="en-US" sz="1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face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FCC2517B-B592-E667-29EF-5A95F3086D6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9583" y="3242010"/>
            <a:ext cx="2744727" cy="32780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anchor="ctr">
            <a:noAutofit/>
          </a:bodyPr>
          <a:lstStyle/>
          <a:p>
            <a:pPr fontAlgn="auto">
              <a:spcBef>
                <a:spcPct val="25000"/>
              </a:spcBef>
              <a:spcAft>
                <a:spcPct val="25000"/>
              </a:spcAft>
              <a:buClr>
                <a:srgbClr val="B70D28"/>
              </a:buClr>
              <a:defRPr/>
            </a:pPr>
            <a:r>
              <a:rPr lang="en-US" sz="1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ed for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B128501B-D2F6-8F85-ED54-0B8821B9C325}"/>
              </a:ext>
            </a:extLst>
          </p:cNvPr>
          <p:cNvCxnSpPr>
            <a:cxnSpLocks/>
          </p:cNvCxnSpPr>
          <p:nvPr/>
        </p:nvCxnSpPr>
        <p:spPr>
          <a:xfrm>
            <a:off x="339582" y="3801968"/>
            <a:ext cx="274472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20970D13-41F0-AB26-49AF-C67B4535E05F}"/>
              </a:ext>
            </a:extLst>
          </p:cNvPr>
          <p:cNvCxnSpPr>
            <a:cxnSpLocks/>
          </p:cNvCxnSpPr>
          <p:nvPr/>
        </p:nvCxnSpPr>
        <p:spPr>
          <a:xfrm>
            <a:off x="339582" y="3009857"/>
            <a:ext cx="274472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F2C1C5D8-1108-F336-15B9-C897F22D8C19}"/>
              </a:ext>
            </a:extLst>
          </p:cNvPr>
          <p:cNvCxnSpPr>
            <a:cxnSpLocks/>
          </p:cNvCxnSpPr>
          <p:nvPr/>
        </p:nvCxnSpPr>
        <p:spPr>
          <a:xfrm>
            <a:off x="339582" y="4451912"/>
            <a:ext cx="274472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1FAEDCB0-4834-C55C-7FC3-E9DC0DC38746}"/>
              </a:ext>
            </a:extLst>
          </p:cNvPr>
          <p:cNvCxnSpPr>
            <a:cxnSpLocks/>
          </p:cNvCxnSpPr>
          <p:nvPr/>
        </p:nvCxnSpPr>
        <p:spPr>
          <a:xfrm>
            <a:off x="339582" y="5609633"/>
            <a:ext cx="274472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6">
            <a:extLst>
              <a:ext uri="{FF2B5EF4-FFF2-40B4-BE49-F238E27FC236}">
                <a16:creationId xmlns:a16="http://schemas.microsoft.com/office/drawing/2014/main" id="{4660FF21-C386-2A7D-CD19-9B1D3E30831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64310" y="3058177"/>
            <a:ext cx="2744728" cy="55383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square" lIns="0" tIns="0" rIns="0" bIns="0" anchor="ctr" anchorCtr="1"/>
          <a:lstStyle/>
          <a:p>
            <a:pPr defTabSz="865145" fontAlgn="auto">
              <a:spcAft>
                <a:spcPts val="600"/>
              </a:spcAft>
              <a:buClr>
                <a:srgbClr val="B70D28"/>
              </a:buClr>
              <a:defRPr/>
            </a:pPr>
            <a:endParaRPr lang="en-US" sz="18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FC8166EC-FC23-A502-8CAC-BA33DC0FCAD7}"/>
              </a:ext>
            </a:extLst>
          </p:cNvPr>
          <p:cNvCxnSpPr>
            <a:cxnSpLocks/>
          </p:cNvCxnSpPr>
          <p:nvPr/>
        </p:nvCxnSpPr>
        <p:spPr>
          <a:xfrm>
            <a:off x="3389070" y="3801968"/>
            <a:ext cx="2495207" cy="0"/>
          </a:xfrm>
          <a:prstGeom prst="line">
            <a:avLst/>
          </a:prstGeom>
          <a:ln w="952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ED5D6DDF-25AF-E500-C77B-6063D4B747F1}"/>
              </a:ext>
            </a:extLst>
          </p:cNvPr>
          <p:cNvCxnSpPr>
            <a:cxnSpLocks/>
          </p:cNvCxnSpPr>
          <p:nvPr/>
        </p:nvCxnSpPr>
        <p:spPr>
          <a:xfrm>
            <a:off x="3389070" y="3009857"/>
            <a:ext cx="2495207" cy="0"/>
          </a:xfrm>
          <a:prstGeom prst="line">
            <a:avLst/>
          </a:prstGeom>
          <a:ln w="952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702D09C2-D72E-8807-7B72-1D9CB039D566}"/>
              </a:ext>
            </a:extLst>
          </p:cNvPr>
          <p:cNvCxnSpPr>
            <a:cxnSpLocks/>
          </p:cNvCxnSpPr>
          <p:nvPr/>
        </p:nvCxnSpPr>
        <p:spPr>
          <a:xfrm>
            <a:off x="3389070" y="4451912"/>
            <a:ext cx="2495207" cy="0"/>
          </a:xfrm>
          <a:prstGeom prst="line">
            <a:avLst/>
          </a:prstGeom>
          <a:ln w="952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2606730-A14F-E3F4-8EAA-38E8958C8DCF}"/>
              </a:ext>
            </a:extLst>
          </p:cNvPr>
          <p:cNvCxnSpPr>
            <a:cxnSpLocks/>
          </p:cNvCxnSpPr>
          <p:nvPr/>
        </p:nvCxnSpPr>
        <p:spPr>
          <a:xfrm>
            <a:off x="3389070" y="5609633"/>
            <a:ext cx="2495207" cy="0"/>
          </a:xfrm>
          <a:prstGeom prst="line">
            <a:avLst/>
          </a:prstGeom>
          <a:ln w="952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4">
            <a:extLst>
              <a:ext uri="{FF2B5EF4-FFF2-40B4-BE49-F238E27FC236}">
                <a16:creationId xmlns:a16="http://schemas.microsoft.com/office/drawing/2014/main" id="{780DE66E-9C52-826F-266F-C86CF7D1A65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9582" y="1408013"/>
            <a:ext cx="2744727" cy="32780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anchor="ctr">
            <a:noAutofit/>
          </a:bodyPr>
          <a:lstStyle/>
          <a:p>
            <a:pPr fontAlgn="auto">
              <a:spcBef>
                <a:spcPct val="25000"/>
              </a:spcBef>
              <a:spcAft>
                <a:spcPct val="25000"/>
              </a:spcAft>
              <a:buClr>
                <a:srgbClr val="B70D28"/>
              </a:buClr>
              <a:defRPr/>
            </a:pPr>
            <a:r>
              <a:rPr lang="en-US" sz="1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GA</a:t>
            </a:r>
            <a:r>
              <a:rPr lang="en-US" sz="1800" b="1" kern="0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M </a:t>
            </a:r>
            <a:r>
              <a:rPr lang="en-US" sz="1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PM SLB </a:t>
            </a:r>
          </a:p>
        </p:txBody>
      </p:sp>
      <p:sp>
        <p:nvSpPr>
          <p:cNvPr id="62" name="TextBox 51">
            <a:extLst>
              <a:ext uri="{FF2B5EF4-FFF2-40B4-BE49-F238E27FC236}">
                <a16:creationId xmlns:a16="http://schemas.microsoft.com/office/drawing/2014/main" id="{916DC570-F8E8-3B12-35A7-5F372FE6EB25}"/>
              </a:ext>
            </a:extLst>
          </p:cNvPr>
          <p:cNvSpPr txBox="1">
            <a:spLocks/>
          </p:cNvSpPr>
          <p:nvPr/>
        </p:nvSpPr>
        <p:spPr>
          <a:xfrm>
            <a:off x="3389071" y="2606541"/>
            <a:ext cx="2495206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>
                <a:solidFill>
                  <a:schemeClr val="bg1"/>
                </a:solidFill>
              </a:rPr>
              <a:t>I</a:t>
            </a:r>
            <a:r>
              <a:rPr lang="en-US" sz="1000" kern="0" baseline="30000" dirty="0">
                <a:solidFill>
                  <a:schemeClr val="bg1"/>
                </a:solidFill>
              </a:rPr>
              <a:t>2</a:t>
            </a:r>
            <a:r>
              <a:rPr lang="en-US" sz="1000" kern="0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63" name="TextBox 51">
            <a:extLst>
              <a:ext uri="{FF2B5EF4-FFF2-40B4-BE49-F238E27FC236}">
                <a16:creationId xmlns:a16="http://schemas.microsoft.com/office/drawing/2014/main" id="{E86E858F-A407-980A-D4AE-64F48E4465AD}"/>
              </a:ext>
            </a:extLst>
          </p:cNvPr>
          <p:cNvSpPr txBox="1">
            <a:spLocks/>
          </p:cNvSpPr>
          <p:nvPr/>
        </p:nvSpPr>
        <p:spPr>
          <a:xfrm>
            <a:off x="3389071" y="3175080"/>
            <a:ext cx="2495206" cy="4616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>
                <a:solidFill>
                  <a:schemeClr val="bg1"/>
                </a:solidFill>
              </a:rPr>
              <a:t>Network infrastructure and light industrial machines such as factory robots, Programmable Logic Controllers (PLC)</a:t>
            </a:r>
          </a:p>
        </p:txBody>
      </p:sp>
      <p:sp>
        <p:nvSpPr>
          <p:cNvPr id="64" name="TextBox 51">
            <a:extLst>
              <a:ext uri="{FF2B5EF4-FFF2-40B4-BE49-F238E27FC236}">
                <a16:creationId xmlns:a16="http://schemas.microsoft.com/office/drawing/2014/main" id="{4F9319C7-AC3D-898D-898F-8EC40683CC43}"/>
              </a:ext>
            </a:extLst>
          </p:cNvPr>
          <p:cNvSpPr txBox="1">
            <a:spLocks/>
          </p:cNvSpPr>
          <p:nvPr/>
        </p:nvSpPr>
        <p:spPr>
          <a:xfrm>
            <a:off x="3389071" y="3898042"/>
            <a:ext cx="2495206" cy="4616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>
                <a:solidFill>
                  <a:schemeClr val="bg1"/>
                </a:solidFill>
              </a:rPr>
              <a:t>Extended: -40°C to +85°C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kern="0" dirty="0">
                <a:solidFill>
                  <a:schemeClr val="bg1"/>
                </a:solidFill>
              </a:rPr>
              <a:t>Extended (Industrial): -40°C to </a:t>
            </a:r>
            <a:r>
              <a:rPr lang="en-US" sz="1000" b="1" kern="0" dirty="0">
                <a:solidFill>
                  <a:schemeClr val="bg1"/>
                </a:solidFill>
              </a:rPr>
              <a:t>+105°C</a:t>
            </a:r>
          </a:p>
        </p:txBody>
      </p:sp>
      <p:sp>
        <p:nvSpPr>
          <p:cNvPr id="65" name="TextBox 51">
            <a:extLst>
              <a:ext uri="{FF2B5EF4-FFF2-40B4-BE49-F238E27FC236}">
                <a16:creationId xmlns:a16="http://schemas.microsoft.com/office/drawing/2014/main" id="{16136323-14A6-8602-B92C-19B02C525764}"/>
              </a:ext>
            </a:extLst>
          </p:cNvPr>
          <p:cNvSpPr txBox="1">
            <a:spLocks/>
          </p:cNvSpPr>
          <p:nvPr/>
        </p:nvSpPr>
        <p:spPr>
          <a:xfrm>
            <a:off x="6313798" y="2606541"/>
            <a:ext cx="2495206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/>
              <a:t>SPI</a:t>
            </a:r>
          </a:p>
        </p:txBody>
      </p:sp>
      <p:sp>
        <p:nvSpPr>
          <p:cNvPr id="66" name="TextBox 51">
            <a:extLst>
              <a:ext uri="{FF2B5EF4-FFF2-40B4-BE49-F238E27FC236}">
                <a16:creationId xmlns:a16="http://schemas.microsoft.com/office/drawing/2014/main" id="{CACD4C41-6ADF-A1C3-9F12-3C4AD82A5F4F}"/>
              </a:ext>
            </a:extLst>
          </p:cNvPr>
          <p:cNvSpPr txBox="1">
            <a:spLocks/>
          </p:cNvSpPr>
          <p:nvPr/>
        </p:nvSpPr>
        <p:spPr>
          <a:xfrm>
            <a:off x="6313798" y="3175080"/>
            <a:ext cx="2495206" cy="4616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/>
              <a:t>MSFT Windows environment/</a:t>
            </a:r>
            <a:br>
              <a:rPr lang="en-US" sz="1000" kern="0" dirty="0"/>
            </a:br>
            <a:r>
              <a:rPr lang="en-US" sz="1000" kern="0" dirty="0"/>
              <a:t>ecosystem and connected devices </a:t>
            </a:r>
            <a:br>
              <a:rPr lang="en-US" sz="1000" kern="0" dirty="0"/>
            </a:br>
            <a:r>
              <a:rPr lang="en-US" sz="1000" kern="0" dirty="0"/>
              <a:t>with a “PC platform” architecture</a:t>
            </a:r>
          </a:p>
        </p:txBody>
      </p:sp>
      <p:sp>
        <p:nvSpPr>
          <p:cNvPr id="67" name="TextBox 51">
            <a:extLst>
              <a:ext uri="{FF2B5EF4-FFF2-40B4-BE49-F238E27FC236}">
                <a16:creationId xmlns:a16="http://schemas.microsoft.com/office/drawing/2014/main" id="{18BD8320-B0AD-FC9B-1325-69EF35D43F78}"/>
              </a:ext>
            </a:extLst>
          </p:cNvPr>
          <p:cNvSpPr txBox="1">
            <a:spLocks/>
          </p:cNvSpPr>
          <p:nvPr/>
        </p:nvSpPr>
        <p:spPr>
          <a:xfrm>
            <a:off x="6313798" y="3898042"/>
            <a:ext cx="2495206" cy="4616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/>
              <a:t>Standard: -20°C to +85°C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kern="0" dirty="0"/>
              <a:t>Extended: -40°C to +85°C</a:t>
            </a:r>
          </a:p>
        </p:txBody>
      </p:sp>
      <p:sp>
        <p:nvSpPr>
          <p:cNvPr id="68" name="TextBox 51">
            <a:extLst>
              <a:ext uri="{FF2B5EF4-FFF2-40B4-BE49-F238E27FC236}">
                <a16:creationId xmlns:a16="http://schemas.microsoft.com/office/drawing/2014/main" id="{52A27D91-256C-11E4-DFDC-1B378987EE0E}"/>
              </a:ext>
            </a:extLst>
          </p:cNvPr>
          <p:cNvSpPr txBox="1">
            <a:spLocks/>
          </p:cNvSpPr>
          <p:nvPr/>
        </p:nvSpPr>
        <p:spPr>
          <a:xfrm>
            <a:off x="9238525" y="2606541"/>
            <a:ext cx="2495206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/>
              <a:t>SPI</a:t>
            </a:r>
          </a:p>
        </p:txBody>
      </p:sp>
      <p:sp>
        <p:nvSpPr>
          <p:cNvPr id="69" name="TextBox 51">
            <a:extLst>
              <a:ext uri="{FF2B5EF4-FFF2-40B4-BE49-F238E27FC236}">
                <a16:creationId xmlns:a16="http://schemas.microsoft.com/office/drawing/2014/main" id="{8F144394-E00D-B3E0-68A0-F4FF4084D26F}"/>
              </a:ext>
            </a:extLst>
          </p:cNvPr>
          <p:cNvSpPr txBox="1">
            <a:spLocks/>
          </p:cNvSpPr>
          <p:nvPr/>
        </p:nvSpPr>
        <p:spPr>
          <a:xfrm>
            <a:off x="9238525" y="3098136"/>
            <a:ext cx="2495206" cy="61555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/>
              <a:t>Connected devices supporting enhanced security features (Chip Unique ID readout; AES encryption and decryption; </a:t>
            </a:r>
            <a:br>
              <a:rPr lang="en-US" sz="1000" kern="0" dirty="0"/>
            </a:br>
            <a:r>
              <a:rPr lang="en-US" sz="1000" kern="0" dirty="0"/>
              <a:t>Disabling EK key deletion)</a:t>
            </a:r>
          </a:p>
        </p:txBody>
      </p:sp>
      <p:sp>
        <p:nvSpPr>
          <p:cNvPr id="70" name="TextBox 51">
            <a:extLst>
              <a:ext uri="{FF2B5EF4-FFF2-40B4-BE49-F238E27FC236}">
                <a16:creationId xmlns:a16="http://schemas.microsoft.com/office/drawing/2014/main" id="{DDCCB7A9-3E79-6B87-B606-2D58F2119BBF}"/>
              </a:ext>
            </a:extLst>
          </p:cNvPr>
          <p:cNvSpPr txBox="1">
            <a:spLocks/>
          </p:cNvSpPr>
          <p:nvPr/>
        </p:nvSpPr>
        <p:spPr>
          <a:xfrm>
            <a:off x="9238525" y="3898042"/>
            <a:ext cx="2495206" cy="4616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/>
              <a:t>Extended: -40°C to +85°C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kern="0" dirty="0"/>
              <a:t>Extended (Industrial): -40°C to +105°C</a:t>
            </a:r>
          </a:p>
        </p:txBody>
      </p:sp>
      <p:sp>
        <p:nvSpPr>
          <p:cNvPr id="71" name="TextBox 51">
            <a:extLst>
              <a:ext uri="{FF2B5EF4-FFF2-40B4-BE49-F238E27FC236}">
                <a16:creationId xmlns:a16="http://schemas.microsoft.com/office/drawing/2014/main" id="{0E989B67-593D-876A-ED28-E369C0918618}"/>
              </a:ext>
            </a:extLst>
          </p:cNvPr>
          <p:cNvSpPr txBox="1">
            <a:spLocks/>
          </p:cNvSpPr>
          <p:nvPr/>
        </p:nvSpPr>
        <p:spPr>
          <a:xfrm>
            <a:off x="3389070" y="4616583"/>
            <a:ext cx="2495207" cy="769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>
                <a:solidFill>
                  <a:schemeClr val="bg1"/>
                </a:solidFill>
              </a:rPr>
              <a:t>Flexibility in terms of interface speed</a:t>
            </a:r>
          </a:p>
          <a:p>
            <a:pPr marL="126000" indent="-12600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US" sz="1000" kern="0" dirty="0">
                <a:solidFill>
                  <a:schemeClr val="bg1"/>
                </a:solidFill>
              </a:rPr>
              <a:t>100 kHz – I2C Standard Mode </a:t>
            </a:r>
            <a:br>
              <a:rPr lang="en-US" sz="1000" kern="0" dirty="0">
                <a:solidFill>
                  <a:schemeClr val="bg1"/>
                </a:solidFill>
              </a:rPr>
            </a:br>
            <a:r>
              <a:rPr lang="en-US" sz="1000" kern="0" dirty="0">
                <a:solidFill>
                  <a:schemeClr val="bg1"/>
                </a:solidFill>
              </a:rPr>
              <a:t>(lowest speed)</a:t>
            </a:r>
          </a:p>
          <a:p>
            <a:pPr marL="126000" indent="-12600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US" sz="1000" kern="0" dirty="0">
                <a:solidFill>
                  <a:schemeClr val="bg1"/>
                </a:solidFill>
              </a:rPr>
              <a:t>400 kHz – I2C Fast Mode </a:t>
            </a:r>
          </a:p>
          <a:p>
            <a:pPr marL="126000" indent="-12600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US" sz="1000" kern="0" dirty="0">
                <a:solidFill>
                  <a:schemeClr val="bg1"/>
                </a:solidFill>
              </a:rPr>
              <a:t>1MHz – I2C Fast Mode plus</a:t>
            </a:r>
          </a:p>
        </p:txBody>
      </p:sp>
      <p:sp>
        <p:nvSpPr>
          <p:cNvPr id="72" name="TextBox 51">
            <a:extLst>
              <a:ext uri="{FF2B5EF4-FFF2-40B4-BE49-F238E27FC236}">
                <a16:creationId xmlns:a16="http://schemas.microsoft.com/office/drawing/2014/main" id="{368EE13B-A7F2-4681-9013-58824FF9EE93}"/>
              </a:ext>
            </a:extLst>
          </p:cNvPr>
          <p:cNvSpPr txBox="1">
            <a:spLocks/>
          </p:cNvSpPr>
          <p:nvPr/>
        </p:nvSpPr>
        <p:spPr>
          <a:xfrm>
            <a:off x="6313798" y="4924359"/>
            <a:ext cx="2495206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/>
              <a:t>33 MHz</a:t>
            </a:r>
          </a:p>
        </p:txBody>
      </p:sp>
      <p:sp>
        <p:nvSpPr>
          <p:cNvPr id="73" name="TextBox 51">
            <a:extLst>
              <a:ext uri="{FF2B5EF4-FFF2-40B4-BE49-F238E27FC236}">
                <a16:creationId xmlns:a16="http://schemas.microsoft.com/office/drawing/2014/main" id="{FFF7477B-D07C-2140-63CD-D5FAA4932AAE}"/>
              </a:ext>
            </a:extLst>
          </p:cNvPr>
          <p:cNvSpPr txBox="1">
            <a:spLocks/>
          </p:cNvSpPr>
          <p:nvPr/>
        </p:nvSpPr>
        <p:spPr>
          <a:xfrm>
            <a:off x="9238525" y="4924359"/>
            <a:ext cx="2495206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/>
              <a:t>33 MHz</a:t>
            </a:r>
          </a:p>
        </p:txBody>
      </p:sp>
      <p:sp>
        <p:nvSpPr>
          <p:cNvPr id="76" name="TextBox 51">
            <a:extLst>
              <a:ext uri="{FF2B5EF4-FFF2-40B4-BE49-F238E27FC236}">
                <a16:creationId xmlns:a16="http://schemas.microsoft.com/office/drawing/2014/main" id="{49905298-FF7B-8625-2212-0A9D87B4ABA3}"/>
              </a:ext>
            </a:extLst>
          </p:cNvPr>
          <p:cNvSpPr txBox="1">
            <a:spLocks/>
          </p:cNvSpPr>
          <p:nvPr/>
        </p:nvSpPr>
        <p:spPr>
          <a:xfrm>
            <a:off x="3389071" y="5710708"/>
            <a:ext cx="2495206" cy="4616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>
                <a:solidFill>
                  <a:schemeClr val="bg1"/>
                </a:solidFill>
              </a:rPr>
              <a:t>July 2022 </a:t>
            </a:r>
            <a:br>
              <a:rPr lang="en-US" sz="1000" kern="0" dirty="0">
                <a:solidFill>
                  <a:schemeClr val="bg1"/>
                </a:solidFill>
              </a:rPr>
            </a:br>
            <a:r>
              <a:rPr lang="en-US" sz="1000" kern="0" dirty="0">
                <a:solidFill>
                  <a:schemeClr val="bg1"/>
                </a:solidFill>
              </a:rPr>
              <a:t>(with CC-certification)</a:t>
            </a:r>
          </a:p>
        </p:txBody>
      </p:sp>
      <p:sp>
        <p:nvSpPr>
          <p:cNvPr id="77" name="TextBox 51">
            <a:extLst>
              <a:ext uri="{FF2B5EF4-FFF2-40B4-BE49-F238E27FC236}">
                <a16:creationId xmlns:a16="http://schemas.microsoft.com/office/drawing/2014/main" id="{DE48C345-A535-BD43-04DE-4B2C763B9F50}"/>
              </a:ext>
            </a:extLst>
          </p:cNvPr>
          <p:cNvSpPr txBox="1">
            <a:spLocks/>
          </p:cNvSpPr>
          <p:nvPr/>
        </p:nvSpPr>
        <p:spPr>
          <a:xfrm>
            <a:off x="6313798" y="5864596"/>
            <a:ext cx="2495206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/>
              <a:t>Available</a:t>
            </a:r>
          </a:p>
        </p:txBody>
      </p:sp>
      <p:sp>
        <p:nvSpPr>
          <p:cNvPr id="78" name="TextBox 51">
            <a:extLst>
              <a:ext uri="{FF2B5EF4-FFF2-40B4-BE49-F238E27FC236}">
                <a16:creationId xmlns:a16="http://schemas.microsoft.com/office/drawing/2014/main" id="{B4206208-179D-C9D1-EEC8-0A0C22797CB5}"/>
              </a:ext>
            </a:extLst>
          </p:cNvPr>
          <p:cNvSpPr txBox="1">
            <a:spLocks/>
          </p:cNvSpPr>
          <p:nvPr/>
        </p:nvSpPr>
        <p:spPr>
          <a:xfrm>
            <a:off x="9238525" y="5864596"/>
            <a:ext cx="2495206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kern="0" dirty="0"/>
              <a:t>Available</a:t>
            </a:r>
          </a:p>
        </p:txBody>
      </p:sp>
    </p:spTree>
    <p:extLst>
      <p:ext uri="{BB962C8B-B14F-4D97-AF65-F5344CB8AC3E}">
        <p14:creationId xmlns:p14="http://schemas.microsoft.com/office/powerpoint/2010/main" val="37815870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CD615B1-B9FB-8D65-DF21-58119739708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24140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0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Person, drinnen, stehend enthält.&#10;&#10;Automatisch generierte Beschreibung">
            <a:extLst>
              <a:ext uri="{FF2B5EF4-FFF2-40B4-BE49-F238E27FC236}">
                <a16:creationId xmlns:a16="http://schemas.microsoft.com/office/drawing/2014/main" id="{597852C0-E288-0DA1-0328-1E9E7A7BCE1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298" b="13298"/>
          <a:stretch/>
        </p:blipFill>
        <p:spPr>
          <a:xfrm>
            <a:off x="4277084" y="0"/>
            <a:ext cx="7914916" cy="6858006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7554DB7-5C53-185A-BFA4-52361BA0EAB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00000">
            <a:off x="-646348" y="638133"/>
            <a:ext cx="6858002" cy="5581737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9F323937-F848-46C0-5A71-7071E5D6EDE6}"/>
              </a:ext>
            </a:extLst>
          </p:cNvPr>
          <p:cNvSpPr txBox="1"/>
          <p:nvPr/>
        </p:nvSpPr>
        <p:spPr bwMode="auto">
          <a:xfrm>
            <a:off x="334434" y="1448780"/>
            <a:ext cx="3942650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US" sz="3600" b="1" kern="0" dirty="0">
                <a:solidFill>
                  <a:schemeClr val="tx2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The benefits of </a:t>
            </a:r>
            <a:br>
              <a:rPr lang="en-US" sz="3600" b="1" kern="0" dirty="0">
                <a:solidFill>
                  <a:schemeClr val="tx2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</a:br>
            <a:r>
              <a:rPr lang="en-US" sz="3600" b="1" kern="0" dirty="0">
                <a:solidFill>
                  <a:schemeClr val="tx2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a hardware-based security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22954352"/>
      </p:ext>
    </p:extLst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10F5EFE-1F4E-0A80-E76F-CC7B2F8D13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5106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88A9D2AA-7D05-6447-2AD2-EE2391F03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y hardware-based security?</a:t>
            </a:r>
          </a:p>
        </p:txBody>
      </p:sp>
      <p:sp>
        <p:nvSpPr>
          <p:cNvPr id="12" name="Abgerundetes Rechteck 43">
            <a:extLst>
              <a:ext uri="{FF2B5EF4-FFF2-40B4-BE49-F238E27FC236}">
                <a16:creationId xmlns:a16="http://schemas.microsoft.com/office/drawing/2014/main" id="{A558CF23-80CC-34DA-C2F3-D3EB0C0794EA}"/>
              </a:ext>
            </a:extLst>
          </p:cNvPr>
          <p:cNvSpPr/>
          <p:nvPr/>
        </p:nvSpPr>
        <p:spPr bwMode="auto">
          <a:xfrm>
            <a:off x="1422660" y="1422900"/>
            <a:ext cx="2942913" cy="2232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noAutofit/>
          </a:bodyPr>
          <a:lstStyle/>
          <a:p>
            <a:pPr algn="ctr" eaLnBrk="0" hangingPunct="0">
              <a:buClr>
                <a:schemeClr val="tx1"/>
              </a:buClr>
            </a:pPr>
            <a:endParaRPr lang="en-US" sz="1600" dirty="0">
              <a:solidFill>
                <a:srgbClr val="00214A"/>
              </a:solidFill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Abgerundetes Rechteck 44">
            <a:extLst>
              <a:ext uri="{FF2B5EF4-FFF2-40B4-BE49-F238E27FC236}">
                <a16:creationId xmlns:a16="http://schemas.microsoft.com/office/drawing/2014/main" id="{D557B268-DE66-68F2-32BC-F9DE6A7FD229}"/>
              </a:ext>
            </a:extLst>
          </p:cNvPr>
          <p:cNvSpPr/>
          <p:nvPr/>
        </p:nvSpPr>
        <p:spPr bwMode="auto">
          <a:xfrm>
            <a:off x="4588745" y="1422900"/>
            <a:ext cx="2942913" cy="2232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noAutofit/>
          </a:bodyPr>
          <a:lstStyle/>
          <a:p>
            <a:pPr algn="ctr" eaLnBrk="0" hangingPunct="0">
              <a:buClr>
                <a:schemeClr val="tx1"/>
              </a:buClr>
            </a:pPr>
            <a:endParaRPr lang="en-US" sz="1600" dirty="0">
              <a:solidFill>
                <a:srgbClr val="00214A"/>
              </a:solidFill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Abgerundetes Rechteck 45">
            <a:extLst>
              <a:ext uri="{FF2B5EF4-FFF2-40B4-BE49-F238E27FC236}">
                <a16:creationId xmlns:a16="http://schemas.microsoft.com/office/drawing/2014/main" id="{A46598B7-B863-2B4F-366C-94871123BC45}"/>
              </a:ext>
            </a:extLst>
          </p:cNvPr>
          <p:cNvSpPr/>
          <p:nvPr/>
        </p:nvSpPr>
        <p:spPr bwMode="auto">
          <a:xfrm>
            <a:off x="7754831" y="1422900"/>
            <a:ext cx="2942913" cy="2232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noAutofit/>
          </a:bodyPr>
          <a:lstStyle/>
          <a:p>
            <a:pPr algn="ctr" eaLnBrk="0" hangingPunct="0">
              <a:buClr>
                <a:schemeClr val="tx1"/>
              </a:buClr>
            </a:pPr>
            <a:endParaRPr lang="en-US" sz="1600" dirty="0">
              <a:solidFill>
                <a:srgbClr val="00214A"/>
              </a:solidFill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Abgerundetes Rechteck 48">
            <a:extLst>
              <a:ext uri="{FF2B5EF4-FFF2-40B4-BE49-F238E27FC236}">
                <a16:creationId xmlns:a16="http://schemas.microsoft.com/office/drawing/2014/main" id="{D81DAC15-8DB2-281D-3BA4-D02A71E5F1B0}"/>
              </a:ext>
            </a:extLst>
          </p:cNvPr>
          <p:cNvSpPr>
            <a:spLocks/>
          </p:cNvSpPr>
          <p:nvPr/>
        </p:nvSpPr>
        <p:spPr bwMode="auto">
          <a:xfrm>
            <a:off x="3274881" y="3602562"/>
            <a:ext cx="4177698" cy="215444"/>
          </a:xfrm>
          <a:prstGeom prst="rect">
            <a:avLst/>
          </a:prstGeom>
          <a:ln w="952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defTabSz="57600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dirty="0">
                <a:latin typeface="+mn-lt"/>
              </a:rPr>
              <a:t>Software code easily readable by attackers</a:t>
            </a:r>
          </a:p>
        </p:txBody>
      </p:sp>
      <p:sp>
        <p:nvSpPr>
          <p:cNvPr id="17" name="Abgerundetes Rechteck 49">
            <a:extLst>
              <a:ext uri="{FF2B5EF4-FFF2-40B4-BE49-F238E27FC236}">
                <a16:creationId xmlns:a16="http://schemas.microsoft.com/office/drawing/2014/main" id="{E012CD26-9804-E9C7-3FC0-20A0E52F6EEC}"/>
              </a:ext>
            </a:extLst>
          </p:cNvPr>
          <p:cNvSpPr>
            <a:spLocks/>
          </p:cNvSpPr>
          <p:nvPr/>
        </p:nvSpPr>
        <p:spPr bwMode="auto">
          <a:xfrm>
            <a:off x="7677545" y="3494842"/>
            <a:ext cx="4179492" cy="430887"/>
          </a:xfrm>
          <a:prstGeom prst="rect">
            <a:avLst/>
          </a:prstGeom>
          <a:ln w="952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defTabSz="57600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dirty="0">
                <a:latin typeface="+mn-lt"/>
              </a:rPr>
              <a:t>Hardware chip protects itself against </a:t>
            </a:r>
            <a:br>
              <a:rPr lang="en-US" dirty="0">
                <a:latin typeface="+mn-lt"/>
              </a:rPr>
            </a:br>
            <a:r>
              <a:rPr lang="en-US" dirty="0">
                <a:latin typeface="+mn-lt"/>
              </a:rPr>
              <a:t>code reading</a:t>
            </a:r>
          </a:p>
        </p:txBody>
      </p:sp>
      <p:sp>
        <p:nvSpPr>
          <p:cNvPr id="19" name="Abgerundetes Rechteck 51">
            <a:extLst>
              <a:ext uri="{FF2B5EF4-FFF2-40B4-BE49-F238E27FC236}">
                <a16:creationId xmlns:a16="http://schemas.microsoft.com/office/drawing/2014/main" id="{FA97D183-78C1-3B90-61E6-922EE09DC090}"/>
              </a:ext>
            </a:extLst>
          </p:cNvPr>
          <p:cNvSpPr>
            <a:spLocks/>
          </p:cNvSpPr>
          <p:nvPr/>
        </p:nvSpPr>
        <p:spPr bwMode="auto">
          <a:xfrm>
            <a:off x="3274881" y="4201812"/>
            <a:ext cx="4177698" cy="430887"/>
          </a:xfrm>
          <a:prstGeom prst="rect">
            <a:avLst/>
          </a:prstGeom>
          <a:ln w="952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defTabSz="57600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dirty="0">
                <a:latin typeface="+mn-lt"/>
              </a:rPr>
              <a:t>Software code easily copied and shared </a:t>
            </a:r>
            <a:br>
              <a:rPr lang="en-US" dirty="0">
                <a:latin typeface="+mn-lt"/>
              </a:rPr>
            </a:br>
            <a:r>
              <a:rPr lang="en-US" dirty="0">
                <a:latin typeface="+mn-lt"/>
              </a:rPr>
              <a:t>by attackers</a:t>
            </a:r>
          </a:p>
        </p:txBody>
      </p:sp>
      <p:sp>
        <p:nvSpPr>
          <p:cNvPr id="20" name="Abgerundetes Rechteck 52">
            <a:extLst>
              <a:ext uri="{FF2B5EF4-FFF2-40B4-BE49-F238E27FC236}">
                <a16:creationId xmlns:a16="http://schemas.microsoft.com/office/drawing/2014/main" id="{C2CFF4FA-AA11-B11E-CD5E-C9E8F0E7CC3D}"/>
              </a:ext>
            </a:extLst>
          </p:cNvPr>
          <p:cNvSpPr>
            <a:spLocks/>
          </p:cNvSpPr>
          <p:nvPr/>
        </p:nvSpPr>
        <p:spPr bwMode="auto">
          <a:xfrm>
            <a:off x="7677545" y="4201812"/>
            <a:ext cx="4179492" cy="430887"/>
          </a:xfrm>
          <a:prstGeom prst="rect">
            <a:avLst/>
          </a:prstGeom>
          <a:ln w="952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defTabSz="57600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dirty="0">
                <a:latin typeface="+mn-lt"/>
              </a:rPr>
              <a:t>Security hardware must be reverse </a:t>
            </a:r>
            <a:br>
              <a:rPr lang="en-US" dirty="0">
                <a:latin typeface="+mn-lt"/>
              </a:rPr>
            </a:br>
            <a:r>
              <a:rPr lang="en-US" dirty="0">
                <a:latin typeface="+mn-lt"/>
              </a:rPr>
              <a:t>engineered and re-manufactured</a:t>
            </a:r>
          </a:p>
        </p:txBody>
      </p:sp>
      <p:sp>
        <p:nvSpPr>
          <p:cNvPr id="22" name="Abgerundetes Rechteck 54">
            <a:extLst>
              <a:ext uri="{FF2B5EF4-FFF2-40B4-BE49-F238E27FC236}">
                <a16:creationId xmlns:a16="http://schemas.microsoft.com/office/drawing/2014/main" id="{36C560F6-381B-0AEC-7B72-3200A8DAF6BF}"/>
              </a:ext>
            </a:extLst>
          </p:cNvPr>
          <p:cNvSpPr>
            <a:spLocks/>
          </p:cNvSpPr>
          <p:nvPr/>
        </p:nvSpPr>
        <p:spPr bwMode="auto">
          <a:xfrm>
            <a:off x="3274881" y="4967627"/>
            <a:ext cx="4177698" cy="430887"/>
          </a:xfrm>
          <a:prstGeom prst="rect">
            <a:avLst/>
          </a:prstGeom>
          <a:ln w="952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defTabSz="57600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dirty="0">
                <a:latin typeface="+mn-lt"/>
              </a:rPr>
              <a:t>Software code easily analyzed and understood</a:t>
            </a:r>
            <a:br>
              <a:rPr lang="en-US" dirty="0">
                <a:latin typeface="+mn-lt"/>
              </a:rPr>
            </a:br>
            <a:r>
              <a:rPr lang="en-US" dirty="0">
                <a:latin typeface="+mn-lt"/>
              </a:rPr>
              <a:t>using standard tools</a:t>
            </a:r>
          </a:p>
        </p:txBody>
      </p:sp>
      <p:sp>
        <p:nvSpPr>
          <p:cNvPr id="23" name="Abgerundetes Rechteck 55">
            <a:extLst>
              <a:ext uri="{FF2B5EF4-FFF2-40B4-BE49-F238E27FC236}">
                <a16:creationId xmlns:a16="http://schemas.microsoft.com/office/drawing/2014/main" id="{3447EDE8-EA10-4258-2F3D-C41D2C22401B}"/>
              </a:ext>
            </a:extLst>
          </p:cNvPr>
          <p:cNvSpPr>
            <a:spLocks/>
          </p:cNvSpPr>
          <p:nvPr/>
        </p:nvSpPr>
        <p:spPr bwMode="auto">
          <a:xfrm>
            <a:off x="7677545" y="4967627"/>
            <a:ext cx="4179492" cy="430887"/>
          </a:xfrm>
          <a:prstGeom prst="rect">
            <a:avLst/>
          </a:prstGeom>
          <a:ln w="952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defTabSz="57600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dirty="0">
                <a:latin typeface="+mn-lt"/>
              </a:rPr>
              <a:t>Hardware protection for data processing, </a:t>
            </a:r>
            <a:br>
              <a:rPr lang="en-US" dirty="0">
                <a:latin typeface="+mn-lt"/>
              </a:rPr>
            </a:br>
            <a:r>
              <a:rPr lang="en-US" dirty="0">
                <a:latin typeface="+mn-lt"/>
              </a:rPr>
              <a:t>transport storage</a:t>
            </a:r>
          </a:p>
        </p:txBody>
      </p:sp>
      <p:sp>
        <p:nvSpPr>
          <p:cNvPr id="25" name="Abgerundetes Rechteck 57">
            <a:extLst>
              <a:ext uri="{FF2B5EF4-FFF2-40B4-BE49-F238E27FC236}">
                <a16:creationId xmlns:a16="http://schemas.microsoft.com/office/drawing/2014/main" id="{F0DBCA0F-B6CD-F257-F8E6-8E4E1BE8F01C}"/>
              </a:ext>
            </a:extLst>
          </p:cNvPr>
          <p:cNvSpPr>
            <a:spLocks/>
          </p:cNvSpPr>
          <p:nvPr/>
        </p:nvSpPr>
        <p:spPr bwMode="auto">
          <a:xfrm>
            <a:off x="3274881" y="5772467"/>
            <a:ext cx="4177698" cy="430887"/>
          </a:xfrm>
          <a:prstGeom prst="rect">
            <a:avLst/>
          </a:prstGeom>
          <a:ln w="952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defTabSz="57600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dirty="0">
                <a:latin typeface="+mn-lt"/>
              </a:rPr>
              <a:t>Consequently, not so strong “Root of Trust” </a:t>
            </a:r>
            <a:br>
              <a:rPr lang="en-US" dirty="0">
                <a:latin typeface="+mn-lt"/>
              </a:rPr>
            </a:br>
            <a:r>
              <a:rPr lang="en-US" dirty="0">
                <a:latin typeface="+mn-lt"/>
              </a:rPr>
              <a:t>anchor for the system</a:t>
            </a:r>
          </a:p>
        </p:txBody>
      </p:sp>
      <p:sp>
        <p:nvSpPr>
          <p:cNvPr id="26" name="Abgerundetes Rechteck 58">
            <a:extLst>
              <a:ext uri="{FF2B5EF4-FFF2-40B4-BE49-F238E27FC236}">
                <a16:creationId xmlns:a16="http://schemas.microsoft.com/office/drawing/2014/main" id="{D13E9BA3-FE91-C341-3E53-93A15CC46F36}"/>
              </a:ext>
            </a:extLst>
          </p:cNvPr>
          <p:cNvSpPr>
            <a:spLocks/>
          </p:cNvSpPr>
          <p:nvPr/>
        </p:nvSpPr>
        <p:spPr bwMode="auto">
          <a:xfrm>
            <a:off x="7677545" y="5772467"/>
            <a:ext cx="4179492" cy="430887"/>
          </a:xfrm>
          <a:prstGeom prst="rect">
            <a:avLst/>
          </a:prstGeom>
          <a:ln w="952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defTabSz="57600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dirty="0">
                <a:latin typeface="+mn-lt"/>
              </a:rPr>
              <a:t>Strong “Root of Trust” anchor for the system, providing detection, recoverability, secured updates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E733D51-3DAB-FBF5-7662-83E6F8659555}"/>
              </a:ext>
            </a:extLst>
          </p:cNvPr>
          <p:cNvGrpSpPr/>
          <p:nvPr/>
        </p:nvGrpSpPr>
        <p:grpSpPr>
          <a:xfrm>
            <a:off x="3274881" y="4034349"/>
            <a:ext cx="4177698" cy="1531632"/>
            <a:chOff x="3274881" y="4034349"/>
            <a:chExt cx="4177698" cy="15316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D30E9630-F2B0-5A8E-80B6-641D07DB5C14}"/>
                </a:ext>
              </a:extLst>
            </p:cNvPr>
            <p:cNvCxnSpPr>
              <a:cxnSpLocks/>
            </p:cNvCxnSpPr>
            <p:nvPr/>
          </p:nvCxnSpPr>
          <p:spPr>
            <a:xfrm>
              <a:off x="3274881" y="4034349"/>
              <a:ext cx="4177698" cy="0"/>
            </a:xfrm>
            <a:prstGeom prst="line">
              <a:avLst/>
            </a:prstGeom>
            <a:ln w="9525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839D0B37-BBB3-4971-BF85-7CD2733E3A9A}"/>
                </a:ext>
              </a:extLst>
            </p:cNvPr>
            <p:cNvCxnSpPr>
              <a:cxnSpLocks/>
            </p:cNvCxnSpPr>
            <p:nvPr/>
          </p:nvCxnSpPr>
          <p:spPr>
            <a:xfrm>
              <a:off x="3274881" y="4800165"/>
              <a:ext cx="4177698" cy="0"/>
            </a:xfrm>
            <a:prstGeom prst="line">
              <a:avLst/>
            </a:prstGeom>
            <a:ln w="9525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B4DC43C6-8D06-2FB7-67D9-B6A290540FC4}"/>
                </a:ext>
              </a:extLst>
            </p:cNvPr>
            <p:cNvCxnSpPr>
              <a:cxnSpLocks/>
            </p:cNvCxnSpPr>
            <p:nvPr/>
          </p:nvCxnSpPr>
          <p:spPr>
            <a:xfrm>
              <a:off x="3274881" y="5565981"/>
              <a:ext cx="4177698" cy="0"/>
            </a:xfrm>
            <a:prstGeom prst="line">
              <a:avLst/>
            </a:prstGeom>
            <a:ln w="9525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6F34C924-2573-0454-7E9D-3A1DF32F61F0}"/>
              </a:ext>
            </a:extLst>
          </p:cNvPr>
          <p:cNvGrpSpPr>
            <a:grpSpLocks/>
          </p:cNvGrpSpPr>
          <p:nvPr/>
        </p:nvGrpSpPr>
        <p:grpSpPr>
          <a:xfrm>
            <a:off x="7677545" y="4034349"/>
            <a:ext cx="4177698" cy="1531632"/>
            <a:chOff x="3274881" y="4034349"/>
            <a:chExt cx="4177698" cy="1531632"/>
          </a:xfrm>
        </p:grpSpPr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93E25739-CBA8-1888-0EB1-D345E22A338B}"/>
                </a:ext>
              </a:extLst>
            </p:cNvPr>
            <p:cNvCxnSpPr>
              <a:cxnSpLocks/>
            </p:cNvCxnSpPr>
            <p:nvPr/>
          </p:nvCxnSpPr>
          <p:spPr>
            <a:xfrm>
              <a:off x="3274881" y="4034349"/>
              <a:ext cx="4177698" cy="0"/>
            </a:xfrm>
            <a:prstGeom prst="line">
              <a:avLst/>
            </a:prstGeom>
            <a:ln w="9525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8DB8C56F-A775-E78D-EDDE-6CF45DCAF461}"/>
                </a:ext>
              </a:extLst>
            </p:cNvPr>
            <p:cNvCxnSpPr>
              <a:cxnSpLocks/>
            </p:cNvCxnSpPr>
            <p:nvPr/>
          </p:nvCxnSpPr>
          <p:spPr>
            <a:xfrm>
              <a:off x="3274881" y="4800165"/>
              <a:ext cx="4177698" cy="0"/>
            </a:xfrm>
            <a:prstGeom prst="line">
              <a:avLst/>
            </a:prstGeom>
            <a:ln w="9525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E6B9B4E6-0510-9E2C-42B9-32BB87D96BBB}"/>
                </a:ext>
              </a:extLst>
            </p:cNvPr>
            <p:cNvCxnSpPr>
              <a:cxnSpLocks/>
            </p:cNvCxnSpPr>
            <p:nvPr/>
          </p:nvCxnSpPr>
          <p:spPr>
            <a:xfrm>
              <a:off x="3274881" y="5565981"/>
              <a:ext cx="4177698" cy="0"/>
            </a:xfrm>
            <a:prstGeom prst="line">
              <a:avLst/>
            </a:prstGeom>
            <a:ln w="9525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Abgerundetes Rechteck 47">
            <a:extLst>
              <a:ext uri="{FF2B5EF4-FFF2-40B4-BE49-F238E27FC236}">
                <a16:creationId xmlns:a16="http://schemas.microsoft.com/office/drawing/2014/main" id="{238AB057-D0E8-C345-C570-52CD5CE55A01}"/>
              </a:ext>
            </a:extLst>
          </p:cNvPr>
          <p:cNvSpPr>
            <a:spLocks/>
          </p:cNvSpPr>
          <p:nvPr/>
        </p:nvSpPr>
        <p:spPr bwMode="auto">
          <a:xfrm>
            <a:off x="334963" y="3414734"/>
            <a:ext cx="2711453" cy="59110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rtlCol="0" anchor="ctr"/>
          <a:lstStyle/>
          <a:p>
            <a:pPr eaLnBrk="0" hangingPunct="0">
              <a:buClr>
                <a:schemeClr val="tx1"/>
              </a:buClr>
            </a:pPr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ading</a:t>
            </a:r>
          </a:p>
        </p:txBody>
      </p:sp>
      <p:sp>
        <p:nvSpPr>
          <p:cNvPr id="44" name="Abgerundetes Rechteck 50">
            <a:extLst>
              <a:ext uri="{FF2B5EF4-FFF2-40B4-BE49-F238E27FC236}">
                <a16:creationId xmlns:a16="http://schemas.microsoft.com/office/drawing/2014/main" id="{D2F90228-014D-54B6-BBB3-257B0BCBF20B}"/>
              </a:ext>
            </a:extLst>
          </p:cNvPr>
          <p:cNvSpPr>
            <a:spLocks/>
          </p:cNvSpPr>
          <p:nvPr/>
        </p:nvSpPr>
        <p:spPr bwMode="auto">
          <a:xfrm>
            <a:off x="334963" y="4062862"/>
            <a:ext cx="2711453" cy="70879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rtlCol="0" anchor="ctr"/>
          <a:lstStyle/>
          <a:p>
            <a:pPr eaLnBrk="0" hangingPunct="0">
              <a:buClr>
                <a:schemeClr val="tx1"/>
              </a:buClr>
            </a:pPr>
            <a:r>
              <a:rPr lang="en-US" sz="18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ing</a:t>
            </a:r>
            <a:endParaRPr lang="en-US" sz="1800" b="1" dirty="0">
              <a:solidFill>
                <a:schemeClr val="bg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5" name="Abgerundetes Rechteck 53">
            <a:extLst>
              <a:ext uri="{FF2B5EF4-FFF2-40B4-BE49-F238E27FC236}">
                <a16:creationId xmlns:a16="http://schemas.microsoft.com/office/drawing/2014/main" id="{09535BE6-185A-D0F9-A8C9-29EF0725F987}"/>
              </a:ext>
            </a:extLst>
          </p:cNvPr>
          <p:cNvSpPr>
            <a:spLocks/>
          </p:cNvSpPr>
          <p:nvPr/>
        </p:nvSpPr>
        <p:spPr bwMode="auto">
          <a:xfrm>
            <a:off x="334963" y="4828678"/>
            <a:ext cx="2711453" cy="70879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rtlCol="0" anchor="ctr"/>
          <a:lstStyle/>
          <a:p>
            <a:pPr eaLnBrk="0" hangingPunct="0">
              <a:buClr>
                <a:schemeClr val="tx1"/>
              </a:buClr>
            </a:pPr>
            <a:r>
              <a:rPr lang="en-US" sz="18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Analyzing</a:t>
            </a:r>
            <a:endParaRPr lang="en-US" sz="1800" b="1" dirty="0">
              <a:solidFill>
                <a:schemeClr val="bg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6" name="Abgerundetes Rechteck 56">
            <a:extLst>
              <a:ext uri="{FF2B5EF4-FFF2-40B4-BE49-F238E27FC236}">
                <a16:creationId xmlns:a16="http://schemas.microsoft.com/office/drawing/2014/main" id="{93F91838-0532-C57A-CDC4-567ABFDA65A4}"/>
              </a:ext>
            </a:extLst>
          </p:cNvPr>
          <p:cNvSpPr>
            <a:spLocks/>
          </p:cNvSpPr>
          <p:nvPr/>
        </p:nvSpPr>
        <p:spPr bwMode="auto">
          <a:xfrm>
            <a:off x="334963" y="5594493"/>
            <a:ext cx="2711453" cy="78683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rtlCol="0" anchor="ctr"/>
          <a:lstStyle/>
          <a:p>
            <a:pPr eaLnBrk="0" hangingPunct="0">
              <a:buClr>
                <a:schemeClr val="tx1"/>
              </a:buClr>
            </a:pPr>
            <a:r>
              <a:rPr lang="en-US" sz="18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oot of Trust</a:t>
            </a:r>
            <a:endParaRPr lang="en-US" sz="1800" b="1" dirty="0">
              <a:solidFill>
                <a:schemeClr val="bg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9682C95E-6746-036A-9572-C4375137BA76}"/>
              </a:ext>
            </a:extLst>
          </p:cNvPr>
          <p:cNvSpPr>
            <a:spLocks/>
          </p:cNvSpPr>
          <p:nvPr/>
        </p:nvSpPr>
        <p:spPr bwMode="auto">
          <a:xfrm>
            <a:off x="334963" y="2693320"/>
            <a:ext cx="2711453" cy="430887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defTabSz="57600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sz="1800" b="1" dirty="0">
                <a:latin typeface="+mn-lt"/>
              </a:rPr>
              <a:t>No security</a:t>
            </a:r>
          </a:p>
          <a:p>
            <a:pPr defTabSz="57600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sz="1800" dirty="0">
                <a:latin typeface="+mn-lt"/>
              </a:rPr>
              <a:t>Open for all to se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448D515-9777-ACDA-A254-56B3CE420038}"/>
              </a:ext>
            </a:extLst>
          </p:cNvPr>
          <p:cNvSpPr>
            <a:spLocks/>
          </p:cNvSpPr>
          <p:nvPr/>
        </p:nvSpPr>
        <p:spPr bwMode="auto">
          <a:xfrm>
            <a:off x="3274881" y="2693320"/>
            <a:ext cx="4177698" cy="430887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defTabSz="57600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sz="1800" b="1" dirty="0">
                <a:latin typeface="+mn-lt"/>
              </a:rPr>
              <a:t>Software</a:t>
            </a:r>
            <a:br>
              <a:rPr lang="en-US" sz="1800" b="1" dirty="0">
                <a:latin typeface="+mn-lt"/>
              </a:rPr>
            </a:br>
            <a:r>
              <a:rPr lang="en-US" sz="1800" b="1" dirty="0">
                <a:latin typeface="+mn-lt"/>
              </a:rPr>
              <a:t>security only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ACEF410-5035-6DE3-2DA8-541576966CE0}"/>
              </a:ext>
            </a:extLst>
          </p:cNvPr>
          <p:cNvSpPr>
            <a:spLocks/>
          </p:cNvSpPr>
          <p:nvPr/>
        </p:nvSpPr>
        <p:spPr bwMode="auto">
          <a:xfrm>
            <a:off x="7677545" y="2693320"/>
            <a:ext cx="4177698" cy="430887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defTabSz="57600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sz="1800" b="1" dirty="0">
                <a:latin typeface="+mn-lt"/>
              </a:rPr>
              <a:t>Hardware</a:t>
            </a:r>
            <a:br>
              <a:rPr lang="en-US" sz="1800" b="1" dirty="0">
                <a:latin typeface="+mn-lt"/>
              </a:rPr>
            </a:br>
            <a:r>
              <a:rPr lang="en-US" sz="1800" b="1" dirty="0">
                <a:latin typeface="+mn-lt"/>
              </a:rPr>
              <a:t>security</a:t>
            </a:r>
          </a:p>
        </p:txBody>
      </p:sp>
      <p:sp>
        <p:nvSpPr>
          <p:cNvPr id="50" name="Rectangle 116">
            <a:extLst>
              <a:ext uri="{FF2B5EF4-FFF2-40B4-BE49-F238E27FC236}">
                <a16:creationId xmlns:a16="http://schemas.microsoft.com/office/drawing/2014/main" id="{97D6C68C-EEEF-CD4B-1486-9F3116B74187}"/>
              </a:ext>
            </a:extLst>
          </p:cNvPr>
          <p:cNvSpPr>
            <a:spLocks/>
          </p:cNvSpPr>
          <p:nvPr/>
        </p:nvSpPr>
        <p:spPr>
          <a:xfrm>
            <a:off x="334437" y="2567723"/>
            <a:ext cx="2711453" cy="5119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7" dirty="0">
              <a:cs typeface="Arial" panose="020B0604020202020204" pitchFamily="34" charset="0"/>
            </a:endParaRPr>
          </a:p>
        </p:txBody>
      </p:sp>
      <p:sp>
        <p:nvSpPr>
          <p:cNvPr id="51" name="Rectangle 116">
            <a:extLst>
              <a:ext uri="{FF2B5EF4-FFF2-40B4-BE49-F238E27FC236}">
                <a16:creationId xmlns:a16="http://schemas.microsoft.com/office/drawing/2014/main" id="{C85527C7-FDB5-0AC4-D62D-05B66EC8EC91}"/>
              </a:ext>
            </a:extLst>
          </p:cNvPr>
          <p:cNvSpPr>
            <a:spLocks/>
          </p:cNvSpPr>
          <p:nvPr/>
        </p:nvSpPr>
        <p:spPr>
          <a:xfrm>
            <a:off x="3274880" y="2567723"/>
            <a:ext cx="4177698" cy="5119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7" dirty="0">
              <a:cs typeface="Arial" panose="020B0604020202020204" pitchFamily="34" charset="0"/>
            </a:endParaRPr>
          </a:p>
        </p:txBody>
      </p:sp>
      <p:sp>
        <p:nvSpPr>
          <p:cNvPr id="52" name="Rectangle 116">
            <a:extLst>
              <a:ext uri="{FF2B5EF4-FFF2-40B4-BE49-F238E27FC236}">
                <a16:creationId xmlns:a16="http://schemas.microsoft.com/office/drawing/2014/main" id="{462DE201-0C20-BEB4-31E9-CD3327B0DB28}"/>
              </a:ext>
            </a:extLst>
          </p:cNvPr>
          <p:cNvSpPr>
            <a:spLocks/>
          </p:cNvSpPr>
          <p:nvPr/>
        </p:nvSpPr>
        <p:spPr>
          <a:xfrm>
            <a:off x="7677545" y="2567723"/>
            <a:ext cx="4177698" cy="5119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7" dirty="0">
              <a:cs typeface="Arial" panose="020B0604020202020204" pitchFamily="34" charset="0"/>
            </a:endParaRPr>
          </a:p>
        </p:txBody>
      </p:sp>
      <p:pic>
        <p:nvPicPr>
          <p:cNvPr id="53" name="Grafik 52">
            <a:extLst>
              <a:ext uri="{FF2B5EF4-FFF2-40B4-BE49-F238E27FC236}">
                <a16:creationId xmlns:a16="http://schemas.microsoft.com/office/drawing/2014/main" id="{8BE5A353-6608-C369-5AF2-226343B360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77544" y="1479742"/>
            <a:ext cx="830723" cy="830723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AC9387C6-FD3C-4AAB-F106-474E4A81ADD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74879" y="1479742"/>
            <a:ext cx="830723" cy="830723"/>
          </a:xfrm>
          <a:prstGeom prst="rect">
            <a:avLst/>
          </a:prstGeom>
        </p:spPr>
      </p:pic>
      <p:pic>
        <p:nvPicPr>
          <p:cNvPr id="55" name="Webinar">
            <a:extLst>
              <a:ext uri="{FF2B5EF4-FFF2-40B4-BE49-F238E27FC236}">
                <a16:creationId xmlns:a16="http://schemas.microsoft.com/office/drawing/2014/main" id="{3538B646-7FAC-06B4-C7B8-5183F150AC9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34434" y="1519619"/>
            <a:ext cx="750968" cy="750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5855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7DBF945-DF48-C005-1CBF-45E1F2041B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Folie" r:id="rId10" imgW="344" imgH="345" progId="TCLayout.ActiveDocument.1">
                  <p:embed/>
                </p:oleObj>
              </mc:Choice>
              <mc:Fallback>
                <p:oleObj name="think-cell Folie" r:id="rId10" imgW="344" imgH="34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DBF945-DF48-C005-1CBF-45E1F2041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C3390278-5B65-0815-43FA-03E58C5CF80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94"/>
          <a:stretch/>
        </p:blipFill>
        <p:spPr>
          <a:xfrm>
            <a:off x="6788029" y="0"/>
            <a:ext cx="5403972" cy="6381754"/>
          </a:xfrm>
          <a:custGeom>
            <a:avLst/>
            <a:gdLst>
              <a:gd name="connsiteX0" fmla="*/ 1221893 w 5403972"/>
              <a:gd name="connsiteY0" fmla="*/ 0 h 6381747"/>
              <a:gd name="connsiteX1" fmla="*/ 5403972 w 5403972"/>
              <a:gd name="connsiteY1" fmla="*/ 0 h 6381747"/>
              <a:gd name="connsiteX2" fmla="*/ 5403972 w 5403972"/>
              <a:gd name="connsiteY2" fmla="*/ 6381747 h 6381747"/>
              <a:gd name="connsiteX3" fmla="*/ 291729 w 5403972"/>
              <a:gd name="connsiteY3" fmla="*/ 6381747 h 6381747"/>
              <a:gd name="connsiteX4" fmla="*/ 0 w 5403972"/>
              <a:gd name="connsiteY4" fmla="*/ 4864498 h 638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3972" h="6381747">
                <a:moveTo>
                  <a:pt x="1221893" y="0"/>
                </a:moveTo>
                <a:lnTo>
                  <a:pt x="5403972" y="0"/>
                </a:lnTo>
                <a:lnTo>
                  <a:pt x="5403972" y="6381747"/>
                </a:lnTo>
                <a:lnTo>
                  <a:pt x="291729" y="6381747"/>
                </a:lnTo>
                <a:lnTo>
                  <a:pt x="0" y="4864498"/>
                </a:lnTo>
                <a:close/>
              </a:path>
            </a:pathLst>
          </a:cu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569CA10D-600D-968E-946B-2B85FB8C4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fineon’s award-winning TPM technology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F03C4C8A-5337-9BC0-317D-780BC817B970}"/>
              </a:ext>
            </a:extLst>
          </p:cNvPr>
          <p:cNvGrpSpPr/>
          <p:nvPr/>
        </p:nvGrpSpPr>
        <p:grpSpPr>
          <a:xfrm>
            <a:off x="351423" y="5237764"/>
            <a:ext cx="5744577" cy="965877"/>
            <a:chOff x="351423" y="5076888"/>
            <a:chExt cx="7375076" cy="1240026"/>
          </a:xfrm>
        </p:grpSpPr>
        <p:pic>
          <p:nvPicPr>
            <p:cNvPr id="14" name="Grafik 13" descr="Ein Bild, das Text, Schrift, Logo, Grafiken enthält.&#10;&#10;Automatisch generierte Beschreibung">
              <a:extLst>
                <a:ext uri="{FF2B5EF4-FFF2-40B4-BE49-F238E27FC236}">
                  <a16:creationId xmlns:a16="http://schemas.microsoft.com/office/drawing/2014/main" id="{A01001F5-6E2D-F9B8-6E4F-C607C7EFE2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41144" y="5076888"/>
              <a:ext cx="877098" cy="1240023"/>
            </a:xfrm>
            <a:prstGeom prst="rect">
              <a:avLst/>
            </a:prstGeom>
          </p:spPr>
        </p:pic>
        <p:pic>
          <p:nvPicPr>
            <p:cNvPr id="15" name="Grafik 14" descr="Ein Bild, das Text, Schrift, Logo, Kreis enthält.&#10;&#10;Automatisch generierte Beschreibung">
              <a:extLst>
                <a:ext uri="{FF2B5EF4-FFF2-40B4-BE49-F238E27FC236}">
                  <a16:creationId xmlns:a16="http://schemas.microsoft.com/office/drawing/2014/main" id="{40551BDC-1D79-42B0-530A-7BC8ABD75B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73670" y="5127815"/>
              <a:ext cx="1152829" cy="1189099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443873E-68DE-E1AF-41F5-6C2510283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1423" y="5774173"/>
              <a:ext cx="4463020" cy="542735"/>
            </a:xfrm>
            <a:prstGeom prst="rect">
              <a:avLst/>
            </a:prstGeom>
          </p:spPr>
        </p:pic>
      </p:grpSp>
      <p:sp>
        <p:nvSpPr>
          <p:cNvPr id="19" name="Rechteck 18">
            <a:extLst>
              <a:ext uri="{FF2B5EF4-FFF2-40B4-BE49-F238E27FC236}">
                <a16:creationId xmlns:a16="http://schemas.microsoft.com/office/drawing/2014/main" id="{A0BC17EF-7055-C8BD-5166-4E85B8CF1F69}"/>
              </a:ext>
            </a:extLst>
          </p:cNvPr>
          <p:cNvSpPr>
            <a:spLocks/>
          </p:cNvSpPr>
          <p:nvPr/>
        </p:nvSpPr>
        <p:spPr bwMode="auto">
          <a:xfrm>
            <a:off x="334434" y="2420144"/>
            <a:ext cx="66256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eaLnBrk="0" hangingPunct="0"/>
            <a:r>
              <a:rPr lang="en-US" sz="2400" b="1" dirty="0">
                <a:latin typeface="+mn-lt"/>
                <a:ea typeface="Verdana" pitchFamily="34" charset="0"/>
                <a:cs typeface="Arial" panose="020B0604020202020204" pitchFamily="34" charset="0"/>
              </a:rPr>
              <a:t>Our OPTIGA™ TPM SLB 9672/9673 solutions </a:t>
            </a:r>
          </a:p>
        </p:txBody>
      </p:sp>
      <p:pic>
        <p:nvPicPr>
          <p:cNvPr id="22" name="Award">
            <a:extLst>
              <a:ext uri="{FF2B5EF4-FFF2-40B4-BE49-F238E27FC236}">
                <a16:creationId xmlns:a16="http://schemas.microsoft.com/office/drawing/2014/main" id="{8B7FBD5A-52A4-0B31-F70D-AED77E60E92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34435" y="1275576"/>
            <a:ext cx="721006" cy="721006"/>
          </a:xfrm>
          <a:prstGeom prst="rect">
            <a:avLst/>
          </a:prstGeom>
        </p:spPr>
      </p:pic>
      <p:sp>
        <p:nvSpPr>
          <p:cNvPr id="24" name="TextBox">
            <a:extLst>
              <a:ext uri="{FF2B5EF4-FFF2-40B4-BE49-F238E27FC236}">
                <a16:creationId xmlns:a16="http://schemas.microsoft.com/office/drawing/2014/main" id="{4EE6C60E-77D8-E490-AA88-4432122BAAE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34434" y="3033281"/>
            <a:ext cx="5761566" cy="430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sz="1400" b="1" dirty="0"/>
              <a:t>“Embedded Award 2023” from Embedded World</a:t>
            </a:r>
            <a:br>
              <a:rPr lang="en-US" sz="1400" dirty="0"/>
            </a:br>
            <a:r>
              <a:rPr lang="en-US" sz="1400" dirty="0"/>
              <a:t> First place in the “</a:t>
            </a:r>
            <a:r>
              <a:rPr lang="en-US" sz="1400" dirty="0" err="1"/>
              <a:t>Safety&amp;Security</a:t>
            </a:r>
            <a:r>
              <a:rPr lang="en-US" sz="1400" dirty="0"/>
              <a:t>” category</a:t>
            </a:r>
          </a:p>
        </p:txBody>
      </p:sp>
      <p:sp>
        <p:nvSpPr>
          <p:cNvPr id="25" name="TextBox">
            <a:extLst>
              <a:ext uri="{FF2B5EF4-FFF2-40B4-BE49-F238E27FC236}">
                <a16:creationId xmlns:a16="http://schemas.microsoft.com/office/drawing/2014/main" id="{1BE2CC0F-09B5-A2E6-E977-81F3689F094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34434" y="3738488"/>
            <a:ext cx="5761566" cy="430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sz="1400" b="1"/>
              <a:t>“</a:t>
            </a:r>
            <a:r>
              <a:rPr lang="en-US" sz="1400" b="1" dirty="0"/>
              <a:t>Best in Show” award from Embedded Computing Design </a:t>
            </a:r>
            <a:br>
              <a:rPr lang="en-US" sz="1400"/>
            </a:br>
            <a:r>
              <a:rPr lang="en-US" sz="1400"/>
              <a:t>Top </a:t>
            </a:r>
            <a:r>
              <a:rPr lang="en-US" sz="1400" dirty="0"/>
              <a:t>spot in the “Security</a:t>
            </a:r>
            <a:r>
              <a:rPr lang="en-US" sz="1400"/>
              <a:t>” category</a:t>
            </a:r>
            <a:endParaRPr lang="en-US" sz="1400" dirty="0"/>
          </a:p>
        </p:txBody>
      </p:sp>
      <p:sp>
        <p:nvSpPr>
          <p:cNvPr id="26" name="TextBox">
            <a:extLst>
              <a:ext uri="{FF2B5EF4-FFF2-40B4-BE49-F238E27FC236}">
                <a16:creationId xmlns:a16="http://schemas.microsoft.com/office/drawing/2014/main" id="{92029949-0834-E615-70D9-82BF1E2E5BB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334434" y="4443695"/>
            <a:ext cx="5761566" cy="430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sz="1400" b="1" dirty="0"/>
              <a:t>Product of the Year” award from ELEKTRONIK </a:t>
            </a:r>
            <a:br>
              <a:rPr lang="en-US" sz="1400" dirty="0"/>
            </a:br>
            <a:r>
              <a:rPr lang="en-US" sz="1400" dirty="0"/>
              <a:t>First prize in the “Software” category</a:t>
            </a:r>
          </a:p>
        </p:txBody>
      </p:sp>
      <p:sp>
        <p:nvSpPr>
          <p:cNvPr id="18" name="TextBox">
            <a:extLst>
              <a:ext uri="{FF2B5EF4-FFF2-40B4-BE49-F238E27FC236}">
                <a16:creationId xmlns:a16="http://schemas.microsoft.com/office/drawing/2014/main" id="{0AAA814B-29D8-B9E3-960A-4B3EC07AD09C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235460" y="1420635"/>
            <a:ext cx="5552564" cy="430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400" dirty="0"/>
              <a:t>Several awards testify to the innovative strengths </a:t>
            </a:r>
            <a:br>
              <a:rPr lang="en-US" sz="1400" dirty="0"/>
            </a:br>
            <a:r>
              <a:rPr lang="en-US" sz="1400" dirty="0"/>
              <a:t>and advanced cryptographic capabilities of </a:t>
            </a:r>
          </a:p>
        </p:txBody>
      </p:sp>
      <p:sp>
        <p:nvSpPr>
          <p:cNvPr id="27" name="Rectangle 116">
            <a:extLst>
              <a:ext uri="{FF2B5EF4-FFF2-40B4-BE49-F238E27FC236}">
                <a16:creationId xmlns:a16="http://schemas.microsoft.com/office/drawing/2014/main" id="{B2D0CB4F-12EB-9EA9-EA37-6C48C4C7FED5}"/>
              </a:ext>
            </a:extLst>
          </p:cNvPr>
          <p:cNvSpPr>
            <a:spLocks/>
          </p:cNvSpPr>
          <p:nvPr/>
        </p:nvSpPr>
        <p:spPr>
          <a:xfrm rot="5400000">
            <a:off x="3535372" y="-1025595"/>
            <a:ext cx="51726" cy="645359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7" dirty="0">
              <a:cs typeface="Arial" panose="020B0604020202020204" pitchFamily="34" charset="0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313D82C-267C-3016-BF30-CB74C368D18B}"/>
              </a:ext>
            </a:extLst>
          </p:cNvPr>
          <p:cNvCxnSpPr>
            <a:cxnSpLocks/>
          </p:cNvCxnSpPr>
          <p:nvPr/>
        </p:nvCxnSpPr>
        <p:spPr>
          <a:xfrm>
            <a:off x="335360" y="3601328"/>
            <a:ext cx="5761566" cy="0"/>
          </a:xfrm>
          <a:prstGeom prst="line">
            <a:avLst/>
          </a:prstGeom>
          <a:ln w="12700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5BC4E6B2-DE43-72DF-2268-5F5E8D928587}"/>
              </a:ext>
            </a:extLst>
          </p:cNvPr>
          <p:cNvCxnSpPr>
            <a:cxnSpLocks/>
          </p:cNvCxnSpPr>
          <p:nvPr/>
        </p:nvCxnSpPr>
        <p:spPr>
          <a:xfrm>
            <a:off x="335360" y="4306535"/>
            <a:ext cx="5761566" cy="0"/>
          </a:xfrm>
          <a:prstGeom prst="line">
            <a:avLst/>
          </a:prstGeom>
          <a:ln w="12700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94303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53B31B8-77AB-7B0B-8E3E-94898665A5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8" name="think-cell Folie" r:id="rId15" imgW="344" imgH="345" progId="TCLayout.ActiveDocument.1">
                  <p:embed/>
                </p:oleObj>
              </mc:Choice>
              <mc:Fallback>
                <p:oleObj name="think-cell Folie" r:id="rId15" imgW="344" imgH="34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3B31B8-77AB-7B0B-8E3E-94898665A5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8A450A71-C0D5-250D-F2A2-D998C154CFF0}"/>
              </a:ext>
            </a:extLst>
          </p:cNvPr>
          <p:cNvSpPr>
            <a:spLocks/>
          </p:cNvSpPr>
          <p:nvPr/>
        </p:nvSpPr>
        <p:spPr bwMode="auto">
          <a:xfrm>
            <a:off x="344810" y="3899492"/>
            <a:ext cx="4815084" cy="77119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b"/>
          <a:lstStyle/>
          <a:p>
            <a:pPr algn="r" defTabSz="576000" eaLnBrk="0" hangingPunct="0"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  <a:latin typeface="+mn-lt"/>
              </a:rPr>
              <a:t>Memor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D0AA5A9-BCF5-F4BB-C45A-8F9EE5841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lying on Infineon’s hardware-based security protects secret keys against software vulnerabilities in OS and Apps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B7AE48A9-584F-D6F0-A9B5-32A0C230E3EF}"/>
              </a:ext>
            </a:extLst>
          </p:cNvPr>
          <p:cNvSpPr>
            <a:spLocks/>
          </p:cNvSpPr>
          <p:nvPr/>
        </p:nvSpPr>
        <p:spPr bwMode="auto">
          <a:xfrm>
            <a:off x="344811" y="3056290"/>
            <a:ext cx="4275026" cy="771202"/>
          </a:xfrm>
          <a:prstGeom prst="rect">
            <a:avLst/>
          </a:prstGeom>
          <a:solidFill>
            <a:srgbClr val="6CB4AD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b"/>
          <a:lstStyle/>
          <a:p>
            <a:pPr defTabSz="576000" eaLnBrk="0" hangingPunct="0">
              <a:lnSpc>
                <a:spcPct val="120000"/>
              </a:lnSpc>
            </a:pPr>
            <a:r>
              <a:rPr lang="en-US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Operating System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295FEE-1408-E952-2D2C-44844A49A465}"/>
              </a:ext>
            </a:extLst>
          </p:cNvPr>
          <p:cNvSpPr>
            <a:spLocks/>
          </p:cNvSpPr>
          <p:nvPr/>
        </p:nvSpPr>
        <p:spPr bwMode="auto">
          <a:xfrm>
            <a:off x="344811" y="2213088"/>
            <a:ext cx="3703670" cy="77120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b">
            <a:noAutofit/>
          </a:bodyPr>
          <a:lstStyle/>
          <a:p>
            <a:pPr defTabSz="576000" eaLnBrk="0" hangingPunct="0">
              <a:lnSpc>
                <a:spcPct val="120000"/>
              </a:lnSpc>
            </a:pPr>
            <a:r>
              <a:rPr lang="en-US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pps</a:t>
            </a:r>
          </a:p>
        </p:txBody>
      </p:sp>
      <p:pic>
        <p:nvPicPr>
          <p:cNvPr id="50" name="Gear wheels">
            <a:extLst>
              <a:ext uri="{FF2B5EF4-FFF2-40B4-BE49-F238E27FC236}">
                <a16:creationId xmlns:a16="http://schemas.microsoft.com/office/drawing/2014/main" id="{75C0FC00-1A6E-9AE9-5847-E0474ACDAEA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455202" y="3178411"/>
            <a:ext cx="526960" cy="526960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699915CD-ED81-35C0-0A6F-DF26B506EE8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234417" y="2368599"/>
            <a:ext cx="457200" cy="457200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FA573889-7C8C-5B3A-188C-519E5102B95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697457" y="2368599"/>
            <a:ext cx="457200" cy="457200"/>
          </a:xfrm>
          <a:prstGeom prst="rect">
            <a:avLst/>
          </a:prstGeom>
        </p:spPr>
      </p:pic>
      <p:pic>
        <p:nvPicPr>
          <p:cNvPr id="63" name="Light">
            <a:extLst>
              <a:ext uri="{FF2B5EF4-FFF2-40B4-BE49-F238E27FC236}">
                <a16:creationId xmlns:a16="http://schemas.microsoft.com/office/drawing/2014/main" id="{E7160625-9EDD-6541-6CEC-10262B47FBB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965937" y="2368599"/>
            <a:ext cx="457200" cy="457200"/>
          </a:xfrm>
          <a:prstGeom prst="rect">
            <a:avLst/>
          </a:prstGeom>
        </p:spPr>
      </p:pic>
      <p:pic>
        <p:nvPicPr>
          <p:cNvPr id="66" name="Grafik 65">
            <a:extLst>
              <a:ext uri="{FF2B5EF4-FFF2-40B4-BE49-F238E27FC236}">
                <a16:creationId xmlns:a16="http://schemas.microsoft.com/office/drawing/2014/main" id="{2856EA0B-BC0D-059B-69C4-7BA4471023D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28977" y="2368599"/>
            <a:ext cx="457200" cy="457200"/>
          </a:xfrm>
          <a:prstGeom prst="rect">
            <a:avLst/>
          </a:prstGeom>
        </p:spPr>
      </p:pic>
      <p:sp>
        <p:nvSpPr>
          <p:cNvPr id="53" name="Rechtwinkliges Dreieck 52">
            <a:extLst>
              <a:ext uri="{FF2B5EF4-FFF2-40B4-BE49-F238E27FC236}">
                <a16:creationId xmlns:a16="http://schemas.microsoft.com/office/drawing/2014/main" id="{CEC6D78D-0B9F-A35D-7E2E-C58A14AEBA42}"/>
              </a:ext>
            </a:extLst>
          </p:cNvPr>
          <p:cNvSpPr>
            <a:spLocks/>
          </p:cNvSpPr>
          <p:nvPr/>
        </p:nvSpPr>
        <p:spPr bwMode="auto">
          <a:xfrm flipV="1">
            <a:off x="344810" y="3899492"/>
            <a:ext cx="4815084" cy="771195"/>
          </a:xfrm>
          <a:prstGeom prst="rtTriangle">
            <a:avLst/>
          </a:prstGeom>
          <a:solidFill>
            <a:srgbClr val="B8DED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1" name="Chip">
            <a:extLst>
              <a:ext uri="{FF2B5EF4-FFF2-40B4-BE49-F238E27FC236}">
                <a16:creationId xmlns:a16="http://schemas.microsoft.com/office/drawing/2014/main" id="{11086D37-79A4-38E9-8EC2-83135FDA7FF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454443" y="4257748"/>
            <a:ext cx="309084" cy="309084"/>
          </a:xfrm>
          <a:prstGeom prst="rect">
            <a:avLst/>
          </a:prstGeom>
        </p:spPr>
      </p:pic>
      <p:pic>
        <p:nvPicPr>
          <p:cNvPr id="52" name="Key">
            <a:extLst>
              <a:ext uri="{FF2B5EF4-FFF2-40B4-BE49-F238E27FC236}">
                <a16:creationId xmlns:a16="http://schemas.microsoft.com/office/drawing/2014/main" id="{EF9BE626-1E6D-349B-7E96-95C6D2B6266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824511" y="4093613"/>
            <a:ext cx="526960" cy="526960"/>
          </a:xfrm>
          <a:prstGeom prst="rect">
            <a:avLst/>
          </a:prstGeom>
        </p:spPr>
      </p:pic>
      <p:pic>
        <p:nvPicPr>
          <p:cNvPr id="65" name="USB">
            <a:extLst>
              <a:ext uri="{FF2B5EF4-FFF2-40B4-BE49-F238E27FC236}">
                <a16:creationId xmlns:a16="http://schemas.microsoft.com/office/drawing/2014/main" id="{6887A58A-923B-82E2-37AD-A12D0729CBE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4740358" y="4090663"/>
            <a:ext cx="334170" cy="334170"/>
          </a:xfrm>
          <a:prstGeom prst="rect">
            <a:avLst/>
          </a:prstGeom>
        </p:spPr>
      </p:pic>
      <p:sp>
        <p:nvSpPr>
          <p:cNvPr id="58" name="Textfeld 57">
            <a:extLst>
              <a:ext uri="{FF2B5EF4-FFF2-40B4-BE49-F238E27FC236}">
                <a16:creationId xmlns:a16="http://schemas.microsoft.com/office/drawing/2014/main" id="{0F98C159-BD3E-B6FC-C25B-1EAECAAC2967}"/>
              </a:ext>
            </a:extLst>
          </p:cNvPr>
          <p:cNvSpPr txBox="1">
            <a:spLocks/>
          </p:cNvSpPr>
          <p:nvPr/>
        </p:nvSpPr>
        <p:spPr bwMode="auto">
          <a:xfrm>
            <a:off x="426050" y="3947965"/>
            <a:ext cx="1080800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defTabSz="576000" eaLnBrk="0" hangingPunct="0">
              <a:lnSpc>
                <a:spcPct val="120000"/>
              </a:lnSpc>
              <a:defRPr sz="1600" baseline="0">
                <a:solidFill>
                  <a:schemeClr val="bg1"/>
                </a:solidFill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Hardware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3187B9C5-080F-7F74-04E6-DC0DE75CBFE4}"/>
              </a:ext>
            </a:extLst>
          </p:cNvPr>
          <p:cNvSpPr>
            <a:spLocks/>
          </p:cNvSpPr>
          <p:nvPr/>
        </p:nvSpPr>
        <p:spPr bwMode="auto">
          <a:xfrm>
            <a:off x="6239307" y="3056290"/>
            <a:ext cx="4275026" cy="771202"/>
          </a:xfrm>
          <a:prstGeom prst="rect">
            <a:avLst/>
          </a:prstGeom>
          <a:solidFill>
            <a:srgbClr val="6CB4AD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b"/>
          <a:lstStyle/>
          <a:p>
            <a:pPr defTabSz="576000" eaLnBrk="0" hangingPunct="0">
              <a:lnSpc>
                <a:spcPct val="120000"/>
              </a:lnSpc>
            </a:pPr>
            <a:r>
              <a:rPr lang="en-US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Operating System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E46A4F44-08FE-00CD-6455-3F49D677B598}"/>
              </a:ext>
            </a:extLst>
          </p:cNvPr>
          <p:cNvSpPr>
            <a:spLocks/>
          </p:cNvSpPr>
          <p:nvPr/>
        </p:nvSpPr>
        <p:spPr bwMode="auto">
          <a:xfrm>
            <a:off x="6239307" y="2213088"/>
            <a:ext cx="3703670" cy="77120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b">
            <a:noAutofit/>
          </a:bodyPr>
          <a:lstStyle/>
          <a:p>
            <a:pPr defTabSz="576000" eaLnBrk="0" hangingPunct="0">
              <a:lnSpc>
                <a:spcPct val="120000"/>
              </a:lnSpc>
            </a:pPr>
            <a:r>
              <a:rPr lang="en-US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pps</a:t>
            </a:r>
          </a:p>
        </p:txBody>
      </p:sp>
      <p:pic>
        <p:nvPicPr>
          <p:cNvPr id="87" name="Gear wheels">
            <a:extLst>
              <a:ext uri="{FF2B5EF4-FFF2-40B4-BE49-F238E27FC236}">
                <a16:creationId xmlns:a16="http://schemas.microsoft.com/office/drawing/2014/main" id="{5172B265-3094-0FD8-017E-A9CD32267F59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349698" y="3178411"/>
            <a:ext cx="526960" cy="526960"/>
          </a:xfrm>
          <a:prstGeom prst="rect">
            <a:avLst/>
          </a:prstGeom>
        </p:spPr>
      </p:pic>
      <p:pic>
        <p:nvPicPr>
          <p:cNvPr id="88" name="Grafik 87">
            <a:extLst>
              <a:ext uri="{FF2B5EF4-FFF2-40B4-BE49-F238E27FC236}">
                <a16:creationId xmlns:a16="http://schemas.microsoft.com/office/drawing/2014/main" id="{1D215A08-FC0A-7F4A-4F34-7DA2D217585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128913" y="2368599"/>
            <a:ext cx="457200" cy="457200"/>
          </a:xfrm>
          <a:prstGeom prst="rect">
            <a:avLst/>
          </a:prstGeom>
        </p:spPr>
      </p:pic>
      <p:pic>
        <p:nvPicPr>
          <p:cNvPr id="89" name="Grafik 88">
            <a:extLst>
              <a:ext uri="{FF2B5EF4-FFF2-40B4-BE49-F238E27FC236}">
                <a16:creationId xmlns:a16="http://schemas.microsoft.com/office/drawing/2014/main" id="{8E7DAD80-A7B5-8DC2-F887-F7722A0B23EA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591953" y="2368599"/>
            <a:ext cx="457200" cy="457200"/>
          </a:xfrm>
          <a:prstGeom prst="rect">
            <a:avLst/>
          </a:prstGeom>
        </p:spPr>
      </p:pic>
      <p:pic>
        <p:nvPicPr>
          <p:cNvPr id="90" name="Light">
            <a:extLst>
              <a:ext uri="{FF2B5EF4-FFF2-40B4-BE49-F238E27FC236}">
                <a16:creationId xmlns:a16="http://schemas.microsoft.com/office/drawing/2014/main" id="{C01EB86C-D1B0-2261-CE8C-AD0B0AE434E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860433" y="2368599"/>
            <a:ext cx="457200" cy="457200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CD0CCEDE-DE43-524E-8A82-5F4B1157451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9323473" y="2368599"/>
            <a:ext cx="457200" cy="457200"/>
          </a:xfrm>
          <a:prstGeom prst="rect">
            <a:avLst/>
          </a:prstGeom>
        </p:spPr>
      </p:pic>
      <p:sp>
        <p:nvSpPr>
          <p:cNvPr id="54" name="Rechteck 53">
            <a:extLst>
              <a:ext uri="{FF2B5EF4-FFF2-40B4-BE49-F238E27FC236}">
                <a16:creationId xmlns:a16="http://schemas.microsoft.com/office/drawing/2014/main" id="{8FD3CBF5-3EB5-4A02-6AC4-B8C95D91FD04}"/>
              </a:ext>
            </a:extLst>
          </p:cNvPr>
          <p:cNvSpPr>
            <a:spLocks/>
          </p:cNvSpPr>
          <p:nvPr/>
        </p:nvSpPr>
        <p:spPr bwMode="auto">
          <a:xfrm>
            <a:off x="6239306" y="3899492"/>
            <a:ext cx="4815084" cy="77119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b"/>
          <a:lstStyle/>
          <a:p>
            <a:pPr algn="r" defTabSz="576000" eaLnBrk="0" hangingPunct="0"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  <a:latin typeface="+mn-lt"/>
              </a:rPr>
              <a:t>Memory</a:t>
            </a:r>
          </a:p>
        </p:txBody>
      </p:sp>
      <p:sp>
        <p:nvSpPr>
          <p:cNvPr id="92" name="Rechtwinkliges Dreieck 91">
            <a:extLst>
              <a:ext uri="{FF2B5EF4-FFF2-40B4-BE49-F238E27FC236}">
                <a16:creationId xmlns:a16="http://schemas.microsoft.com/office/drawing/2014/main" id="{AA53CD73-68D0-268D-13CF-0FD4CD818CF7}"/>
              </a:ext>
            </a:extLst>
          </p:cNvPr>
          <p:cNvSpPr>
            <a:spLocks/>
          </p:cNvSpPr>
          <p:nvPr/>
        </p:nvSpPr>
        <p:spPr bwMode="auto">
          <a:xfrm flipV="1">
            <a:off x="6239306" y="3899492"/>
            <a:ext cx="4815084" cy="771195"/>
          </a:xfrm>
          <a:prstGeom prst="rtTriangle">
            <a:avLst/>
          </a:prstGeom>
          <a:solidFill>
            <a:srgbClr val="B8DED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3" name="Chip">
            <a:extLst>
              <a:ext uri="{FF2B5EF4-FFF2-40B4-BE49-F238E27FC236}">
                <a16:creationId xmlns:a16="http://schemas.microsoft.com/office/drawing/2014/main" id="{A4B7D44A-1A75-65D3-89E6-7719634A5479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348939" y="4246177"/>
            <a:ext cx="309084" cy="309084"/>
          </a:xfrm>
          <a:prstGeom prst="rect">
            <a:avLst/>
          </a:prstGeom>
        </p:spPr>
      </p:pic>
      <p:pic>
        <p:nvPicPr>
          <p:cNvPr id="95" name="USB">
            <a:extLst>
              <a:ext uri="{FF2B5EF4-FFF2-40B4-BE49-F238E27FC236}">
                <a16:creationId xmlns:a16="http://schemas.microsoft.com/office/drawing/2014/main" id="{112F8692-780A-52B7-4453-2EFE0405F88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634854" y="4086557"/>
            <a:ext cx="334170" cy="334170"/>
          </a:xfrm>
          <a:prstGeom prst="rect">
            <a:avLst/>
          </a:prstGeom>
        </p:spPr>
      </p:pic>
      <p:sp>
        <p:nvSpPr>
          <p:cNvPr id="96" name="Textfeld 95">
            <a:extLst>
              <a:ext uri="{FF2B5EF4-FFF2-40B4-BE49-F238E27FC236}">
                <a16:creationId xmlns:a16="http://schemas.microsoft.com/office/drawing/2014/main" id="{CE2DD334-AF8A-3064-4664-C3F6D613C4D9}"/>
              </a:ext>
            </a:extLst>
          </p:cNvPr>
          <p:cNvSpPr txBox="1">
            <a:spLocks/>
          </p:cNvSpPr>
          <p:nvPr/>
        </p:nvSpPr>
        <p:spPr bwMode="auto">
          <a:xfrm>
            <a:off x="6320546" y="3936394"/>
            <a:ext cx="1080800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defTabSz="576000" eaLnBrk="0" hangingPunct="0">
              <a:lnSpc>
                <a:spcPct val="120000"/>
              </a:lnSpc>
              <a:defRPr sz="1600" baseline="0">
                <a:solidFill>
                  <a:schemeClr val="bg1"/>
                </a:solidFill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Hardware</a:t>
            </a:r>
          </a:p>
        </p:txBody>
      </p:sp>
      <p:sp>
        <p:nvSpPr>
          <p:cNvPr id="98" name="Freihandform: Form 97">
            <a:extLst>
              <a:ext uri="{FF2B5EF4-FFF2-40B4-BE49-F238E27FC236}">
                <a16:creationId xmlns:a16="http://schemas.microsoft.com/office/drawing/2014/main" id="{31EEA591-F4BE-A93E-9B60-C74ECEE65EA4}"/>
              </a:ext>
            </a:extLst>
          </p:cNvPr>
          <p:cNvSpPr/>
          <p:nvPr/>
        </p:nvSpPr>
        <p:spPr bwMode="auto">
          <a:xfrm>
            <a:off x="10014976" y="2213088"/>
            <a:ext cx="1717632" cy="2454351"/>
          </a:xfrm>
          <a:custGeom>
            <a:avLst/>
            <a:gdLst>
              <a:gd name="connsiteX0" fmla="*/ 0 w 1717632"/>
              <a:gd name="connsiteY0" fmla="*/ 0 h 2454351"/>
              <a:gd name="connsiteX1" fmla="*/ 1152128 w 1717632"/>
              <a:gd name="connsiteY1" fmla="*/ 0 h 2454351"/>
              <a:gd name="connsiteX2" fmla="*/ 1152128 w 1717632"/>
              <a:gd name="connsiteY2" fmla="*/ 1 h 2454351"/>
              <a:gd name="connsiteX3" fmla="*/ 1717632 w 1717632"/>
              <a:gd name="connsiteY3" fmla="*/ 1 h 2454351"/>
              <a:gd name="connsiteX4" fmla="*/ 1717632 w 1717632"/>
              <a:gd name="connsiteY4" fmla="*/ 2454351 h 2454351"/>
              <a:gd name="connsiteX5" fmla="*/ 1111413 w 1717632"/>
              <a:gd name="connsiteY5" fmla="*/ 2454351 h 2454351"/>
              <a:gd name="connsiteX6" fmla="*/ 1111413 w 1717632"/>
              <a:gd name="connsiteY6" fmla="*/ 1614397 h 2454351"/>
              <a:gd name="connsiteX7" fmla="*/ 571356 w 1717632"/>
              <a:gd name="connsiteY7" fmla="*/ 1614397 h 2454351"/>
              <a:gd name="connsiteX8" fmla="*/ 571356 w 1717632"/>
              <a:gd name="connsiteY8" fmla="*/ 771195 h 2454351"/>
              <a:gd name="connsiteX9" fmla="*/ 0 w 1717632"/>
              <a:gd name="connsiteY9" fmla="*/ 771195 h 2454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7632" h="2454351">
                <a:moveTo>
                  <a:pt x="0" y="0"/>
                </a:moveTo>
                <a:lnTo>
                  <a:pt x="1152128" y="0"/>
                </a:lnTo>
                <a:lnTo>
                  <a:pt x="1152128" y="1"/>
                </a:lnTo>
                <a:lnTo>
                  <a:pt x="1717632" y="1"/>
                </a:lnTo>
                <a:lnTo>
                  <a:pt x="1717632" y="2454351"/>
                </a:lnTo>
                <a:lnTo>
                  <a:pt x="1111413" y="2454351"/>
                </a:lnTo>
                <a:lnTo>
                  <a:pt x="1111413" y="1614397"/>
                </a:lnTo>
                <a:lnTo>
                  <a:pt x="571356" y="1614397"/>
                </a:lnTo>
                <a:lnTo>
                  <a:pt x="571356" y="771195"/>
                </a:lnTo>
                <a:lnTo>
                  <a:pt x="0" y="77119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4" name="Safe">
            <a:extLst>
              <a:ext uri="{FF2B5EF4-FFF2-40B4-BE49-F238E27FC236}">
                <a16:creationId xmlns:a16="http://schemas.microsoft.com/office/drawing/2014/main" id="{D1477C32-318B-FEBE-13EE-A6C5A8EF9107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0728431" y="2420888"/>
            <a:ext cx="660157" cy="660157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8BFECC39-FF6D-D04F-0255-D9D75B77588A}"/>
              </a:ext>
            </a:extLst>
          </p:cNvPr>
          <p:cNvSpPr txBox="1">
            <a:spLocks/>
          </p:cNvSpPr>
          <p:nvPr/>
        </p:nvSpPr>
        <p:spPr bwMode="auto">
          <a:xfrm>
            <a:off x="334434" y="5071967"/>
            <a:ext cx="5616509" cy="495108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vert="horz" lIns="144000" tIns="108000" rIns="144000" bIns="10800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 marL="0" indent="0">
              <a:buNone/>
            </a:pPr>
            <a:r>
              <a:rPr lang="en-US" dirty="0"/>
              <a:t>Secret keys kept in the shared memory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02D2B717-2C7B-5325-4453-10317EE9B20C}"/>
              </a:ext>
            </a:extLst>
          </p:cNvPr>
          <p:cNvSpPr txBox="1">
            <a:spLocks/>
          </p:cNvSpPr>
          <p:nvPr/>
        </p:nvSpPr>
        <p:spPr bwMode="auto">
          <a:xfrm>
            <a:off x="6239306" y="5071967"/>
            <a:ext cx="5616509" cy="495108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vert="horz" lIns="144000" tIns="108000" rIns="144000" bIns="10800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 marL="0" indent="0">
              <a:buNone/>
            </a:pPr>
            <a:r>
              <a:rPr lang="en-US" dirty="0"/>
              <a:t>Secret keys securely kept in the OPTIGA™ TPM</a:t>
            </a:r>
          </a:p>
        </p:txBody>
      </p: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A6D89375-885A-E3A5-066B-C13B944A2928}"/>
              </a:ext>
            </a:extLst>
          </p:cNvPr>
          <p:cNvGrpSpPr>
            <a:grpSpLocks/>
          </p:cNvGrpSpPr>
          <p:nvPr/>
        </p:nvGrpSpPr>
        <p:grpSpPr>
          <a:xfrm>
            <a:off x="334432" y="1271660"/>
            <a:ext cx="11522606" cy="357140"/>
            <a:chOff x="334432" y="1271660"/>
            <a:chExt cx="5762495" cy="357140"/>
          </a:xfrm>
        </p:grpSpPr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05811C63-DD53-87C5-FE8A-0AF2354A6D6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34432" y="1271660"/>
              <a:ext cx="576156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noAutofit/>
            </a:bodyPr>
            <a:lstStyle/>
            <a:p>
              <a:pPr defTabSz="914377" fontAlgn="auto">
                <a:spcAft>
                  <a:spcPts val="0"/>
                </a:spcAft>
                <a:buClr>
                  <a:srgbClr val="FFFFFF"/>
                </a:buClr>
                <a:defRPr/>
              </a:pPr>
              <a:r>
                <a:rPr lang="en-US" sz="18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Why software security is often not enough?</a:t>
              </a:r>
            </a:p>
          </p:txBody>
        </p:sp>
        <p:cxnSp>
          <p:nvCxnSpPr>
            <p:cNvPr id="56" name="Gerade Verbindung 33">
              <a:extLst>
                <a:ext uri="{FF2B5EF4-FFF2-40B4-BE49-F238E27FC236}">
                  <a16:creationId xmlns:a16="http://schemas.microsoft.com/office/drawing/2014/main" id="{60EC817E-D37E-A9B2-68BE-6BDDC326BBFF}"/>
                </a:ext>
              </a:extLst>
            </p:cNvPr>
            <p:cNvCxnSpPr>
              <a:cxnSpLocks/>
            </p:cNvCxnSpPr>
            <p:nvPr/>
          </p:nvCxnSpPr>
          <p:spPr>
            <a:xfrm>
              <a:off x="335360" y="1628800"/>
              <a:ext cx="5761567" cy="0"/>
            </a:xfrm>
            <a:prstGeom prst="line">
              <a:avLst/>
            </a:prstGeom>
            <a:ln w="952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9" name="Key">
            <a:extLst>
              <a:ext uri="{FF2B5EF4-FFF2-40B4-BE49-F238E27FC236}">
                <a16:creationId xmlns:a16="http://schemas.microsoft.com/office/drawing/2014/main" id="{55545CE4-27CC-41E5-A77E-8ABD464A8B05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1054390" y="3202033"/>
            <a:ext cx="526960" cy="52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7957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AFD7E12-3A83-911D-EB5D-2E3A432184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586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2"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37DF261-95F8-1E5D-7D72-85A798EBE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ecurity adds value by protecting your business, </a:t>
            </a:r>
            <a:br>
              <a:rPr lang="en-US" dirty="0"/>
            </a:br>
            <a:r>
              <a:rPr lang="en-US" dirty="0"/>
              <a:t>enabling growth and saving costs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C8E4A99D-BFF9-7270-A6ED-8906826BDFE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25" r="13325"/>
          <a:stretch/>
        </p:blipFill>
        <p:spPr>
          <a:xfrm>
            <a:off x="6788029" y="1"/>
            <a:ext cx="5403972" cy="6381752"/>
          </a:xfrm>
          <a:custGeom>
            <a:avLst/>
            <a:gdLst>
              <a:gd name="connsiteX0" fmla="*/ 1221893 w 5403972"/>
              <a:gd name="connsiteY0" fmla="*/ 0 h 6381747"/>
              <a:gd name="connsiteX1" fmla="*/ 5403972 w 5403972"/>
              <a:gd name="connsiteY1" fmla="*/ 0 h 6381747"/>
              <a:gd name="connsiteX2" fmla="*/ 5403972 w 5403972"/>
              <a:gd name="connsiteY2" fmla="*/ 6381747 h 6381747"/>
              <a:gd name="connsiteX3" fmla="*/ 291729 w 5403972"/>
              <a:gd name="connsiteY3" fmla="*/ 6381747 h 6381747"/>
              <a:gd name="connsiteX4" fmla="*/ 0 w 5403972"/>
              <a:gd name="connsiteY4" fmla="*/ 4864498 h 638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3972" h="6381747">
                <a:moveTo>
                  <a:pt x="1221893" y="0"/>
                </a:moveTo>
                <a:lnTo>
                  <a:pt x="5403972" y="0"/>
                </a:lnTo>
                <a:lnTo>
                  <a:pt x="5403972" y="6381747"/>
                </a:lnTo>
                <a:lnTo>
                  <a:pt x="291729" y="6381747"/>
                </a:lnTo>
                <a:lnTo>
                  <a:pt x="0" y="4864498"/>
                </a:lnTo>
                <a:close/>
              </a:path>
            </a:pathLst>
          </a:cu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FEA400A0-780E-19DB-D88A-9C4A02DC870E}"/>
              </a:ext>
            </a:extLst>
          </p:cNvPr>
          <p:cNvSpPr txBox="1">
            <a:spLocks/>
          </p:cNvSpPr>
          <p:nvPr/>
        </p:nvSpPr>
        <p:spPr bwMode="auto">
          <a:xfrm>
            <a:off x="344302" y="1690820"/>
            <a:ext cx="5751698" cy="864440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US" sz="1400" dirty="0"/>
              <a:t>Trust and reputation</a:t>
            </a:r>
          </a:p>
          <a:p>
            <a:r>
              <a:rPr lang="en-US" sz="1400" dirty="0"/>
              <a:t>IP and process know-how </a:t>
            </a:r>
          </a:p>
          <a:p>
            <a:r>
              <a:rPr lang="en-US" sz="1400" dirty="0"/>
              <a:t>Long-term revenue &amp; profitability of investments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C41B76F-2DE5-9D23-86E0-5D5B4DE9451B}"/>
              </a:ext>
            </a:extLst>
          </p:cNvPr>
          <p:cNvSpPr txBox="1">
            <a:spLocks/>
          </p:cNvSpPr>
          <p:nvPr/>
        </p:nvSpPr>
        <p:spPr bwMode="auto">
          <a:xfrm>
            <a:off x="344302" y="3429000"/>
            <a:ext cx="5751698" cy="864440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US" sz="1400" dirty="0"/>
              <a:t>Growth</a:t>
            </a:r>
          </a:p>
          <a:p>
            <a:r>
              <a:rPr lang="en-US" sz="1400" dirty="0"/>
              <a:t>New business models</a:t>
            </a:r>
          </a:p>
          <a:p>
            <a:r>
              <a:rPr lang="en-US" sz="1400" dirty="0"/>
              <a:t>Security as a differentiation factor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6B4FB86F-041E-4AC8-2E66-B3A5E1D3F736}"/>
              </a:ext>
            </a:extLst>
          </p:cNvPr>
          <p:cNvSpPr txBox="1">
            <a:spLocks/>
          </p:cNvSpPr>
          <p:nvPr/>
        </p:nvSpPr>
        <p:spPr bwMode="auto">
          <a:xfrm>
            <a:off x="344302" y="5161151"/>
            <a:ext cx="5751698" cy="864440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US" sz="1400" dirty="0"/>
              <a:t>Costs by preventing security-related system interruptions</a:t>
            </a:r>
          </a:p>
          <a:p>
            <a:r>
              <a:rPr lang="en-US" sz="1400" dirty="0"/>
              <a:t>Cost based on new ways of solving a problem</a:t>
            </a:r>
          </a:p>
        </p:txBody>
      </p:sp>
      <p:pic>
        <p:nvPicPr>
          <p:cNvPr id="29" name="Check">
            <a:extLst>
              <a:ext uri="{FF2B5EF4-FFF2-40B4-BE49-F238E27FC236}">
                <a16:creationId xmlns:a16="http://schemas.microsoft.com/office/drawing/2014/main" id="{5A7130DF-3372-C681-9E94-567DF84507B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19936" y="1912701"/>
            <a:ext cx="457200" cy="457200"/>
          </a:xfrm>
          <a:prstGeom prst="rect">
            <a:avLst/>
          </a:prstGeom>
        </p:spPr>
      </p:pic>
      <p:pic>
        <p:nvPicPr>
          <p:cNvPr id="30" name="Check">
            <a:extLst>
              <a:ext uri="{FF2B5EF4-FFF2-40B4-BE49-F238E27FC236}">
                <a16:creationId xmlns:a16="http://schemas.microsoft.com/office/drawing/2014/main" id="{5E078296-98BE-6E66-D90F-5C2E57F3514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19936" y="3658020"/>
            <a:ext cx="457200" cy="457200"/>
          </a:xfrm>
          <a:prstGeom prst="rect">
            <a:avLst/>
          </a:prstGeom>
        </p:spPr>
      </p:pic>
      <p:pic>
        <p:nvPicPr>
          <p:cNvPr id="31" name="Check">
            <a:extLst>
              <a:ext uri="{FF2B5EF4-FFF2-40B4-BE49-F238E27FC236}">
                <a16:creationId xmlns:a16="http://schemas.microsoft.com/office/drawing/2014/main" id="{82C7D1B7-0A64-E478-0113-C50B8CC2920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19936" y="5397325"/>
            <a:ext cx="457200" cy="457200"/>
          </a:xfrm>
          <a:prstGeom prst="rect">
            <a:avLst/>
          </a:prstGeom>
        </p:spPr>
      </p:pic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16A71C3F-85EA-6716-E0EB-560FC43FD22A}"/>
              </a:ext>
            </a:extLst>
          </p:cNvPr>
          <p:cNvGrpSpPr>
            <a:grpSpLocks/>
          </p:cNvGrpSpPr>
          <p:nvPr/>
        </p:nvGrpSpPr>
        <p:grpSpPr>
          <a:xfrm>
            <a:off x="334432" y="1271660"/>
            <a:ext cx="5751698" cy="357140"/>
            <a:chOff x="334432" y="1271660"/>
            <a:chExt cx="5762495" cy="357140"/>
          </a:xfrm>
        </p:grpSpPr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79D43158-BAF5-B229-2B88-4C6A7015229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34432" y="1271660"/>
              <a:ext cx="576156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noAutofit/>
            </a:bodyPr>
            <a:lstStyle/>
            <a:p>
              <a:pPr defTabSz="914377" fontAlgn="auto">
                <a:spcAft>
                  <a:spcPts val="0"/>
                </a:spcAft>
                <a:buClr>
                  <a:srgbClr val="FFFFFF"/>
                </a:buClr>
                <a:defRPr/>
              </a:pPr>
              <a:r>
                <a:rPr lang="en-US" sz="18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Protecting</a:t>
              </a:r>
            </a:p>
          </p:txBody>
        </p:sp>
        <p:cxnSp>
          <p:nvCxnSpPr>
            <p:cNvPr id="34" name="Gerade Verbindung 33">
              <a:extLst>
                <a:ext uri="{FF2B5EF4-FFF2-40B4-BE49-F238E27FC236}">
                  <a16:creationId xmlns:a16="http://schemas.microsoft.com/office/drawing/2014/main" id="{B3102EB8-366A-C929-D7E6-6259CB21D528}"/>
                </a:ext>
              </a:extLst>
            </p:cNvPr>
            <p:cNvCxnSpPr>
              <a:cxnSpLocks/>
            </p:cNvCxnSpPr>
            <p:nvPr/>
          </p:nvCxnSpPr>
          <p:spPr>
            <a:xfrm>
              <a:off x="335360" y="1628800"/>
              <a:ext cx="5761567" cy="0"/>
            </a:xfrm>
            <a:prstGeom prst="line">
              <a:avLst/>
            </a:prstGeom>
            <a:ln w="952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83E489A9-C67A-D867-9207-3439EE94B346}"/>
              </a:ext>
            </a:extLst>
          </p:cNvPr>
          <p:cNvGrpSpPr>
            <a:grpSpLocks/>
          </p:cNvGrpSpPr>
          <p:nvPr/>
        </p:nvGrpSpPr>
        <p:grpSpPr>
          <a:xfrm>
            <a:off x="334432" y="2999156"/>
            <a:ext cx="5751698" cy="357140"/>
            <a:chOff x="334432" y="1271660"/>
            <a:chExt cx="5762495" cy="357140"/>
          </a:xfrm>
        </p:grpSpPr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2913A61B-34CD-B881-3925-05B849CBD27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34432" y="1271660"/>
              <a:ext cx="576156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noAutofit/>
            </a:bodyPr>
            <a:lstStyle/>
            <a:p>
              <a:pPr defTabSz="914377" fontAlgn="auto">
                <a:spcAft>
                  <a:spcPts val="0"/>
                </a:spcAft>
                <a:buClr>
                  <a:srgbClr val="FFFFFF"/>
                </a:buClr>
                <a:defRPr/>
              </a:pPr>
              <a:r>
                <a:rPr lang="en-US" sz="18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Enabling</a:t>
              </a:r>
            </a:p>
          </p:txBody>
        </p:sp>
        <p:cxnSp>
          <p:nvCxnSpPr>
            <p:cNvPr id="37" name="Gerade Verbindung 33">
              <a:extLst>
                <a:ext uri="{FF2B5EF4-FFF2-40B4-BE49-F238E27FC236}">
                  <a16:creationId xmlns:a16="http://schemas.microsoft.com/office/drawing/2014/main" id="{6CF7D380-16E8-CE90-17BD-68D725A9591F}"/>
                </a:ext>
              </a:extLst>
            </p:cNvPr>
            <p:cNvCxnSpPr>
              <a:cxnSpLocks/>
            </p:cNvCxnSpPr>
            <p:nvPr/>
          </p:nvCxnSpPr>
          <p:spPr>
            <a:xfrm>
              <a:off x="335360" y="1628800"/>
              <a:ext cx="5761567" cy="0"/>
            </a:xfrm>
            <a:prstGeom prst="line">
              <a:avLst/>
            </a:prstGeom>
            <a:ln w="952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F159A057-1D54-D397-B535-04D010207666}"/>
              </a:ext>
            </a:extLst>
          </p:cNvPr>
          <p:cNvGrpSpPr>
            <a:grpSpLocks/>
          </p:cNvGrpSpPr>
          <p:nvPr/>
        </p:nvGrpSpPr>
        <p:grpSpPr>
          <a:xfrm>
            <a:off x="334432" y="4731307"/>
            <a:ext cx="5751698" cy="357140"/>
            <a:chOff x="334432" y="1271660"/>
            <a:chExt cx="5762495" cy="357140"/>
          </a:xfrm>
        </p:grpSpPr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EA0BDAC0-AE82-C9B6-9106-04787784E17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34432" y="1271660"/>
              <a:ext cx="576156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575986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30034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/>
                </a:rPr>
                <a:t>Saving</a:t>
              </a:r>
            </a:p>
          </p:txBody>
        </p:sp>
        <p:cxnSp>
          <p:nvCxnSpPr>
            <p:cNvPr id="40" name="Gerade Verbindung 33">
              <a:extLst>
                <a:ext uri="{FF2B5EF4-FFF2-40B4-BE49-F238E27FC236}">
                  <a16:creationId xmlns:a16="http://schemas.microsoft.com/office/drawing/2014/main" id="{B73DCE98-ED7A-934B-60F4-552411E61702}"/>
                </a:ext>
              </a:extLst>
            </p:cNvPr>
            <p:cNvCxnSpPr>
              <a:cxnSpLocks/>
            </p:cNvCxnSpPr>
            <p:nvPr/>
          </p:nvCxnSpPr>
          <p:spPr>
            <a:xfrm>
              <a:off x="335360" y="1628800"/>
              <a:ext cx="5761567" cy="0"/>
            </a:xfrm>
            <a:prstGeom prst="line">
              <a:avLst/>
            </a:prstGeom>
            <a:ln w="952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40007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CD615B1-B9FB-8D65-DF21-58119739708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81148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D615B1-B9FB-8D65-DF21-581197397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5">
            <a:extLst>
              <a:ext uri="{FF2B5EF4-FFF2-40B4-BE49-F238E27FC236}">
                <a16:creationId xmlns:a16="http://schemas.microsoft.com/office/drawing/2014/main" id="{1D3CA0D5-43DC-E2D4-A0FE-D35F1DAE88C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50" r="12060"/>
          <a:stretch/>
        </p:blipFill>
        <p:spPr>
          <a:xfrm flipH="1">
            <a:off x="4277084" y="0"/>
            <a:ext cx="7914916" cy="6858006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7554DB7-5C53-185A-BFA4-52361BA0EA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-646348" y="638133"/>
            <a:ext cx="6858002" cy="5581737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9F323937-F848-46C0-5A71-7071E5D6EDE6}"/>
              </a:ext>
            </a:extLst>
          </p:cNvPr>
          <p:cNvSpPr txBox="1"/>
          <p:nvPr/>
        </p:nvSpPr>
        <p:spPr bwMode="auto">
          <a:xfrm>
            <a:off x="334434" y="1448780"/>
            <a:ext cx="3942650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US" sz="3600" b="1" kern="0" dirty="0">
                <a:solidFill>
                  <a:schemeClr val="tx2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hy the OPTIGA™ TPM family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25241146"/>
      </p:ext>
    </p:extLst>
  </p:cSld>
  <p:clrMapOvr>
    <a:masterClrMapping/>
  </p:clrMapOvr>
  <p:transition spd="slow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9D68914-7435-363B-7AEB-2952DFB212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68914-7435-363B-7AEB-2952DFB212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2315B8B8-E84A-6815-22E3-A8D47DC2E5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 vert="horz"/>
          <a:lstStyle/>
          <a:p>
            <a:r>
              <a:rPr lang="en-US" altLang="de-DE" dirty="0"/>
              <a:t>Every second business laptop comes </a:t>
            </a:r>
            <a:br>
              <a:rPr lang="en-US" altLang="de-DE" dirty="0"/>
            </a:br>
            <a:r>
              <a:rPr lang="en-US" altLang="de-DE" dirty="0"/>
              <a:t>with an</a:t>
            </a:r>
            <a:r>
              <a:rPr lang="en-US" dirty="0"/>
              <a:t> OPTIGA™ TPM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01B750C3-24A3-7ACB-581C-19864856BA5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39" t="22018" r="51437" b="13624"/>
          <a:stretch/>
        </p:blipFill>
        <p:spPr>
          <a:xfrm>
            <a:off x="6788029" y="1"/>
            <a:ext cx="5403972" cy="6381752"/>
          </a:xfrm>
          <a:custGeom>
            <a:avLst/>
            <a:gdLst>
              <a:gd name="connsiteX0" fmla="*/ 1221893 w 5403972"/>
              <a:gd name="connsiteY0" fmla="*/ 0 h 6381747"/>
              <a:gd name="connsiteX1" fmla="*/ 5403972 w 5403972"/>
              <a:gd name="connsiteY1" fmla="*/ 0 h 6381747"/>
              <a:gd name="connsiteX2" fmla="*/ 5403972 w 5403972"/>
              <a:gd name="connsiteY2" fmla="*/ 6381747 h 6381747"/>
              <a:gd name="connsiteX3" fmla="*/ 291729 w 5403972"/>
              <a:gd name="connsiteY3" fmla="*/ 6381747 h 6381747"/>
              <a:gd name="connsiteX4" fmla="*/ 0 w 5403972"/>
              <a:gd name="connsiteY4" fmla="*/ 4864498 h 638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3972" h="6381747">
                <a:moveTo>
                  <a:pt x="1221893" y="0"/>
                </a:moveTo>
                <a:lnTo>
                  <a:pt x="5403972" y="0"/>
                </a:lnTo>
                <a:lnTo>
                  <a:pt x="5403972" y="6381747"/>
                </a:lnTo>
                <a:lnTo>
                  <a:pt x="291729" y="6381747"/>
                </a:lnTo>
                <a:lnTo>
                  <a:pt x="0" y="4864498"/>
                </a:lnTo>
                <a:close/>
              </a:path>
            </a:pathLst>
          </a:custGeom>
        </p:spPr>
      </p:pic>
      <p:cxnSp>
        <p:nvCxnSpPr>
          <p:cNvPr id="59" name="Straight Connector 45">
            <a:extLst>
              <a:ext uri="{FF2B5EF4-FFF2-40B4-BE49-F238E27FC236}">
                <a16:creationId xmlns:a16="http://schemas.microsoft.com/office/drawing/2014/main" id="{030A3120-AE96-243F-4B9B-589C03280D0E}"/>
              </a:ext>
            </a:extLst>
          </p:cNvPr>
          <p:cNvCxnSpPr>
            <a:cxnSpLocks/>
            <a:stCxn id="69" idx="2"/>
            <a:endCxn id="62" idx="0"/>
          </p:cNvCxnSpPr>
          <p:nvPr/>
        </p:nvCxnSpPr>
        <p:spPr>
          <a:xfrm>
            <a:off x="1055583" y="2719303"/>
            <a:ext cx="0" cy="387719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6C377D8-3036-A4F6-FDB8-952DCC447963}"/>
              </a:ext>
            </a:extLst>
          </p:cNvPr>
          <p:cNvGrpSpPr>
            <a:grpSpLocks/>
          </p:cNvGrpSpPr>
          <p:nvPr/>
        </p:nvGrpSpPr>
        <p:grpSpPr>
          <a:xfrm>
            <a:off x="5297949" y="1278857"/>
            <a:ext cx="1440446" cy="1440446"/>
            <a:chOff x="475000" y="1119601"/>
            <a:chExt cx="1440446" cy="1440446"/>
          </a:xfrm>
        </p:grpSpPr>
        <p:sp>
          <p:nvSpPr>
            <p:cNvPr id="32" name="Oval 61">
              <a:extLst>
                <a:ext uri="{FF2B5EF4-FFF2-40B4-BE49-F238E27FC236}">
                  <a16:creationId xmlns:a16="http://schemas.microsoft.com/office/drawing/2014/main" id="{8676832A-D5E5-47F2-EE5A-8429D39F0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000" y="1119601"/>
              <a:ext cx="1440446" cy="1440446"/>
            </a:xfrm>
            <a:prstGeom prst="rect">
              <a:avLst/>
            </a:prstGeom>
            <a:ln w="12700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 anchor="ctr"/>
            <a:lstStyle/>
            <a:p>
              <a:pPr algn="ctr" eaLnBrk="0" hangingPunct="0"/>
              <a:endParaRPr lang="en-US" sz="1000" b="1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pic>
          <p:nvPicPr>
            <p:cNvPr id="70" name="Picture 2">
              <a:extLst>
                <a:ext uri="{FF2B5EF4-FFF2-40B4-BE49-F238E27FC236}">
                  <a16:creationId xmlns:a16="http://schemas.microsoft.com/office/drawing/2014/main" id="{792D12B7-B96E-6372-D574-80A032995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4357" y="1470233"/>
              <a:ext cx="1081732" cy="739182"/>
            </a:xfrm>
            <a:prstGeom prst="rect">
              <a:avLst/>
            </a:prstGeom>
          </p:spPr>
        </p:pic>
      </p:grpSp>
      <p:cxnSp>
        <p:nvCxnSpPr>
          <p:cNvPr id="37" name="Straight Connector 45">
            <a:extLst>
              <a:ext uri="{FF2B5EF4-FFF2-40B4-BE49-F238E27FC236}">
                <a16:creationId xmlns:a16="http://schemas.microsoft.com/office/drawing/2014/main" id="{6F98DE57-AF61-3A52-F903-C55AC736BC80}"/>
              </a:ext>
            </a:extLst>
          </p:cNvPr>
          <p:cNvCxnSpPr>
            <a:cxnSpLocks/>
            <a:stCxn id="32" idx="1"/>
            <a:endCxn id="69" idx="1"/>
          </p:cNvCxnSpPr>
          <p:nvPr/>
        </p:nvCxnSpPr>
        <p:spPr>
          <a:xfrm flipH="1">
            <a:off x="335360" y="1999080"/>
            <a:ext cx="4962589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45">
            <a:extLst>
              <a:ext uri="{FF2B5EF4-FFF2-40B4-BE49-F238E27FC236}">
                <a16:creationId xmlns:a16="http://schemas.microsoft.com/office/drawing/2014/main" id="{88F83D51-7DD9-3836-B0AA-8FA3B3B2011D}"/>
              </a:ext>
            </a:extLst>
          </p:cNvPr>
          <p:cNvCxnSpPr>
            <a:cxnSpLocks/>
            <a:stCxn id="64" idx="2"/>
            <a:endCxn id="67" idx="0"/>
          </p:cNvCxnSpPr>
          <p:nvPr/>
        </p:nvCxnSpPr>
        <p:spPr>
          <a:xfrm>
            <a:off x="2709779" y="2719303"/>
            <a:ext cx="0" cy="387719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5">
            <a:extLst>
              <a:ext uri="{FF2B5EF4-FFF2-40B4-BE49-F238E27FC236}">
                <a16:creationId xmlns:a16="http://schemas.microsoft.com/office/drawing/2014/main" id="{75AD8095-EF22-F940-4CC7-1888E2C25D54}"/>
              </a:ext>
            </a:extLst>
          </p:cNvPr>
          <p:cNvCxnSpPr>
            <a:cxnSpLocks/>
            <a:stCxn id="61" idx="2"/>
            <a:endCxn id="65" idx="0"/>
          </p:cNvCxnSpPr>
          <p:nvPr/>
        </p:nvCxnSpPr>
        <p:spPr>
          <a:xfrm>
            <a:off x="4363975" y="2719303"/>
            <a:ext cx="0" cy="387719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2540CFC-B8A9-6F89-3CBA-7080D83A723C}"/>
              </a:ext>
            </a:extLst>
          </p:cNvPr>
          <p:cNvCxnSpPr>
            <a:cxnSpLocks/>
            <a:stCxn id="62" idx="3"/>
            <a:endCxn id="65" idx="1"/>
          </p:cNvCxnSpPr>
          <p:nvPr/>
        </p:nvCxnSpPr>
        <p:spPr>
          <a:xfrm>
            <a:off x="1775806" y="3827245"/>
            <a:ext cx="1867946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5">
            <a:extLst>
              <a:ext uri="{FF2B5EF4-FFF2-40B4-BE49-F238E27FC236}">
                <a16:creationId xmlns:a16="http://schemas.microsoft.com/office/drawing/2014/main" id="{533E8134-FF10-6858-9586-C028E40C5AF9}"/>
              </a:ext>
            </a:extLst>
          </p:cNvPr>
          <p:cNvCxnSpPr>
            <a:cxnSpLocks/>
          </p:cNvCxnSpPr>
          <p:nvPr/>
        </p:nvCxnSpPr>
        <p:spPr>
          <a:xfrm>
            <a:off x="1787018" y="5668850"/>
            <a:ext cx="1867946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45">
            <a:extLst>
              <a:ext uri="{FF2B5EF4-FFF2-40B4-BE49-F238E27FC236}">
                <a16:creationId xmlns:a16="http://schemas.microsoft.com/office/drawing/2014/main" id="{72A2B248-328F-21DF-7A2F-37283FE6F46C}"/>
              </a:ext>
            </a:extLst>
          </p:cNvPr>
          <p:cNvCxnSpPr>
            <a:cxnSpLocks/>
          </p:cNvCxnSpPr>
          <p:nvPr/>
        </p:nvCxnSpPr>
        <p:spPr>
          <a:xfrm>
            <a:off x="1055583" y="4554188"/>
            <a:ext cx="0" cy="394439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45">
            <a:extLst>
              <a:ext uri="{FF2B5EF4-FFF2-40B4-BE49-F238E27FC236}">
                <a16:creationId xmlns:a16="http://schemas.microsoft.com/office/drawing/2014/main" id="{E0E537C2-9C2E-BCF3-D06D-DEEB10EA19CB}"/>
              </a:ext>
            </a:extLst>
          </p:cNvPr>
          <p:cNvCxnSpPr>
            <a:cxnSpLocks/>
          </p:cNvCxnSpPr>
          <p:nvPr/>
        </p:nvCxnSpPr>
        <p:spPr>
          <a:xfrm>
            <a:off x="4363975" y="4554188"/>
            <a:ext cx="0" cy="394439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45">
            <a:extLst>
              <a:ext uri="{FF2B5EF4-FFF2-40B4-BE49-F238E27FC236}">
                <a16:creationId xmlns:a16="http://schemas.microsoft.com/office/drawing/2014/main" id="{0BD2161E-343E-2396-B05E-7BE9CB23A58C}"/>
              </a:ext>
            </a:extLst>
          </p:cNvPr>
          <p:cNvCxnSpPr>
            <a:cxnSpLocks/>
          </p:cNvCxnSpPr>
          <p:nvPr/>
        </p:nvCxnSpPr>
        <p:spPr>
          <a:xfrm>
            <a:off x="2709779" y="4554188"/>
            <a:ext cx="0" cy="394439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4BC74B75-DE49-EE15-9AE7-4A14C2F8004D}"/>
              </a:ext>
            </a:extLst>
          </p:cNvPr>
          <p:cNvCxnSpPr>
            <a:stCxn id="65" idx="3"/>
            <a:endCxn id="58" idx="3"/>
          </p:cNvCxnSpPr>
          <p:nvPr/>
        </p:nvCxnSpPr>
        <p:spPr>
          <a:xfrm>
            <a:off x="5084198" y="3827245"/>
            <a:ext cx="19212" cy="1828166"/>
          </a:xfrm>
          <a:prstGeom prst="bentConnector3">
            <a:avLst>
              <a:gd name="adj1" fmla="val 5256152"/>
            </a:avLst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45">
            <a:extLst>
              <a:ext uri="{FF2B5EF4-FFF2-40B4-BE49-F238E27FC236}">
                <a16:creationId xmlns:a16="http://schemas.microsoft.com/office/drawing/2014/main" id="{B5BF6461-A3B8-C4F5-EAAB-D1DDEDAF6F0A}"/>
              </a:ext>
            </a:extLst>
          </p:cNvPr>
          <p:cNvCxnSpPr>
            <a:cxnSpLocks/>
          </p:cNvCxnSpPr>
          <p:nvPr/>
        </p:nvCxnSpPr>
        <p:spPr>
          <a:xfrm>
            <a:off x="6096000" y="2719303"/>
            <a:ext cx="0" cy="1249757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3">
            <a:extLst>
              <a:ext uri="{FF2B5EF4-FFF2-40B4-BE49-F238E27FC236}">
                <a16:creationId xmlns:a16="http://schemas.microsoft.com/office/drawing/2014/main" id="{21874B74-42EF-DF65-31FD-E0D2180BA959}"/>
              </a:ext>
            </a:extLst>
          </p:cNvPr>
          <p:cNvSpPr>
            <a:spLocks/>
          </p:cNvSpPr>
          <p:nvPr/>
        </p:nvSpPr>
        <p:spPr bwMode="auto">
          <a:xfrm>
            <a:off x="343360" y="4935187"/>
            <a:ext cx="1440446" cy="1440446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eaLnBrk="0" hangingPunct="0"/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Turn-key system solution (HW+SW)</a:t>
            </a:r>
          </a:p>
        </p:txBody>
      </p:sp>
      <p:sp>
        <p:nvSpPr>
          <p:cNvPr id="58" name="Oval 54">
            <a:extLst>
              <a:ext uri="{FF2B5EF4-FFF2-40B4-BE49-F238E27FC236}">
                <a16:creationId xmlns:a16="http://schemas.microsoft.com/office/drawing/2014/main" id="{5581A860-D652-2BAC-5BD9-B7D43C13B2F9}"/>
              </a:ext>
            </a:extLst>
          </p:cNvPr>
          <p:cNvSpPr>
            <a:spLocks/>
          </p:cNvSpPr>
          <p:nvPr/>
        </p:nvSpPr>
        <p:spPr bwMode="auto">
          <a:xfrm>
            <a:off x="3662964" y="4935188"/>
            <a:ext cx="1440446" cy="1440446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eaLnBrk="0" hangingPunct="0"/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Rich set of security functions </a:t>
            </a:r>
          </a:p>
        </p:txBody>
      </p:sp>
      <p:sp>
        <p:nvSpPr>
          <p:cNvPr id="61" name="Oval 57">
            <a:extLst>
              <a:ext uri="{FF2B5EF4-FFF2-40B4-BE49-F238E27FC236}">
                <a16:creationId xmlns:a16="http://schemas.microsoft.com/office/drawing/2014/main" id="{800DC940-D831-9C01-DB56-251BE36D0B2B}"/>
              </a:ext>
            </a:extLst>
          </p:cNvPr>
          <p:cNvSpPr>
            <a:spLocks/>
          </p:cNvSpPr>
          <p:nvPr/>
        </p:nvSpPr>
        <p:spPr bwMode="auto">
          <a:xfrm>
            <a:off x="3643752" y="1278857"/>
            <a:ext cx="1440446" cy="1440446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eaLnBrk="0" hangingPunct="0"/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Security certified </a:t>
            </a:r>
            <a:b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(CC and FIPS)</a:t>
            </a:r>
          </a:p>
        </p:txBody>
      </p:sp>
      <p:sp>
        <p:nvSpPr>
          <p:cNvPr id="62" name="Oval 58">
            <a:extLst>
              <a:ext uri="{FF2B5EF4-FFF2-40B4-BE49-F238E27FC236}">
                <a16:creationId xmlns:a16="http://schemas.microsoft.com/office/drawing/2014/main" id="{565C6449-C3EA-3B46-7337-0E09675CCE7C}"/>
              </a:ext>
            </a:extLst>
          </p:cNvPr>
          <p:cNvSpPr>
            <a:spLocks/>
          </p:cNvSpPr>
          <p:nvPr/>
        </p:nvSpPr>
        <p:spPr bwMode="auto">
          <a:xfrm>
            <a:off x="335360" y="3107022"/>
            <a:ext cx="1440446" cy="1440446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eaLnBrk="0" hangingPunct="0"/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Unique embedded certificates</a:t>
            </a:r>
          </a:p>
        </p:txBody>
      </p:sp>
      <p:sp>
        <p:nvSpPr>
          <p:cNvPr id="64" name="Oval 61">
            <a:extLst>
              <a:ext uri="{FF2B5EF4-FFF2-40B4-BE49-F238E27FC236}">
                <a16:creationId xmlns:a16="http://schemas.microsoft.com/office/drawing/2014/main" id="{1B3CA920-2A06-0E48-387C-80D2F7DEC9C6}"/>
              </a:ext>
            </a:extLst>
          </p:cNvPr>
          <p:cNvSpPr>
            <a:spLocks/>
          </p:cNvSpPr>
          <p:nvPr/>
        </p:nvSpPr>
        <p:spPr bwMode="auto">
          <a:xfrm>
            <a:off x="1989556" y="1278857"/>
            <a:ext cx="1440446" cy="1440446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eaLnBrk="0" hangingPunct="0"/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TCG </a:t>
            </a:r>
          </a:p>
          <a:p>
            <a:pPr eaLnBrk="0" hangingPunct="0"/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TPM 2.0</a:t>
            </a:r>
          </a:p>
          <a:p>
            <a:pPr eaLnBrk="0" hangingPunct="0"/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standard</a:t>
            </a:r>
          </a:p>
        </p:txBody>
      </p:sp>
      <p:sp>
        <p:nvSpPr>
          <p:cNvPr id="65" name="Oval 36">
            <a:extLst>
              <a:ext uri="{FF2B5EF4-FFF2-40B4-BE49-F238E27FC236}">
                <a16:creationId xmlns:a16="http://schemas.microsoft.com/office/drawing/2014/main" id="{A8400B9A-D1A9-02F4-C96E-44B5D628E826}"/>
              </a:ext>
            </a:extLst>
          </p:cNvPr>
          <p:cNvSpPr>
            <a:spLocks/>
          </p:cNvSpPr>
          <p:nvPr/>
        </p:nvSpPr>
        <p:spPr bwMode="auto">
          <a:xfrm>
            <a:off x="3643752" y="3107022"/>
            <a:ext cx="1440446" cy="1440446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eaLnBrk="0" hangingPunct="0"/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Variety of encryption algorithms</a:t>
            </a:r>
          </a:p>
        </p:txBody>
      </p:sp>
      <p:sp>
        <p:nvSpPr>
          <p:cNvPr id="67" name="Oval 64">
            <a:extLst>
              <a:ext uri="{FF2B5EF4-FFF2-40B4-BE49-F238E27FC236}">
                <a16:creationId xmlns:a16="http://schemas.microsoft.com/office/drawing/2014/main" id="{537986D0-182A-8216-F70E-ECA9D6CA4EEB}"/>
              </a:ext>
            </a:extLst>
          </p:cNvPr>
          <p:cNvSpPr>
            <a:spLocks/>
          </p:cNvSpPr>
          <p:nvPr/>
        </p:nvSpPr>
        <p:spPr bwMode="auto">
          <a:xfrm>
            <a:off x="1989556" y="3107022"/>
            <a:ext cx="1440446" cy="1440446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eaLnBrk="0" hangingPunct="0"/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Tamper resistant</a:t>
            </a:r>
          </a:p>
        </p:txBody>
      </p:sp>
      <p:sp>
        <p:nvSpPr>
          <p:cNvPr id="68" name="Oval 36">
            <a:extLst>
              <a:ext uri="{FF2B5EF4-FFF2-40B4-BE49-F238E27FC236}">
                <a16:creationId xmlns:a16="http://schemas.microsoft.com/office/drawing/2014/main" id="{6FDAA2D7-5EC4-461D-1C5F-F76F39863D2E}"/>
              </a:ext>
            </a:extLst>
          </p:cNvPr>
          <p:cNvSpPr>
            <a:spLocks/>
          </p:cNvSpPr>
          <p:nvPr/>
        </p:nvSpPr>
        <p:spPr bwMode="auto">
          <a:xfrm>
            <a:off x="1997556" y="4935188"/>
            <a:ext cx="1440446" cy="1440446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eaLnBrk="0" hangingPunct="0"/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Complete toolset available</a:t>
            </a:r>
          </a:p>
        </p:txBody>
      </p:sp>
      <p:sp>
        <p:nvSpPr>
          <p:cNvPr id="69" name="Oval 5">
            <a:extLst>
              <a:ext uri="{FF2B5EF4-FFF2-40B4-BE49-F238E27FC236}">
                <a16:creationId xmlns:a16="http://schemas.microsoft.com/office/drawing/2014/main" id="{2F5812D2-4E27-28D4-004A-D17AFF3745F5}"/>
              </a:ext>
            </a:extLst>
          </p:cNvPr>
          <p:cNvSpPr>
            <a:spLocks/>
          </p:cNvSpPr>
          <p:nvPr/>
        </p:nvSpPr>
        <p:spPr bwMode="auto">
          <a:xfrm>
            <a:off x="335360" y="1278857"/>
            <a:ext cx="1440446" cy="1440446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72000" rIns="108000" bIns="72000" rtlCol="0" anchor="t"/>
          <a:lstStyle/>
          <a:p>
            <a:pPr eaLnBrk="0" hangingPunct="0"/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FW </a:t>
            </a:r>
            <a:b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updateable</a:t>
            </a:r>
          </a:p>
        </p:txBody>
      </p:sp>
    </p:spTree>
    <p:extLst>
      <p:ext uri="{BB962C8B-B14F-4D97-AF65-F5344CB8AC3E}">
        <p14:creationId xmlns:p14="http://schemas.microsoft.com/office/powerpoint/2010/main" val="2593606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9D68914-7435-363B-7AEB-2952DFB212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2153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8" name="think-cell Folie" r:id="rId8" imgW="344" imgH="345" progId="TCLayout.ActiveDocument.1">
                  <p:embed/>
                </p:oleObj>
              </mc:Choice>
              <mc:Fallback>
                <p:oleObj name="think-cell Folie" r:id="rId8" imgW="344" imgH="34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68914-7435-363B-7AEB-2952DFB212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2315B8B8-E84A-6815-22E3-A8D47DC2E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r solution comes with service and support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9A4B301E-FD45-EE31-744C-99C86C576E21}"/>
              </a:ext>
            </a:extLst>
          </p:cNvPr>
          <p:cNvSpPr txBox="1">
            <a:spLocks/>
          </p:cNvSpPr>
          <p:nvPr/>
        </p:nvSpPr>
        <p:spPr bwMode="auto">
          <a:xfrm>
            <a:off x="344304" y="2644867"/>
            <a:ext cx="2785849" cy="1510771"/>
          </a:xfrm>
          <a:prstGeom prst="rect">
            <a:avLst/>
          </a:prstGeom>
          <a:ln w="9525">
            <a:solidFill>
              <a:schemeClr val="bg2"/>
            </a:solidFill>
          </a:ln>
        </p:spPr>
        <p:txBody>
          <a:bodyPr vert="horz" lIns="144000" tIns="108000" rIns="144000" bIns="10800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US" sz="1400" dirty="0"/>
              <a:t>Providing Design-In Application Notes for our Products</a:t>
            </a:r>
          </a:p>
          <a:p>
            <a:r>
              <a:rPr lang="en-US" sz="1400" dirty="0"/>
              <a:t>Host side integration support</a:t>
            </a:r>
          </a:p>
          <a:p>
            <a:r>
              <a:rPr lang="en-US" sz="1400" dirty="0"/>
              <a:t>Evaluation Kits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67D364A-DAF2-7A3D-7FCD-8FC8806F8DC2}"/>
              </a:ext>
            </a:extLst>
          </p:cNvPr>
          <p:cNvSpPr/>
          <p:nvPr/>
        </p:nvSpPr>
        <p:spPr bwMode="auto">
          <a:xfrm>
            <a:off x="344550" y="2644867"/>
            <a:ext cx="2785596" cy="508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4D293B6-A0D7-C11F-78E4-10FA7A8DE474}"/>
              </a:ext>
            </a:extLst>
          </p:cNvPr>
          <p:cNvSpPr txBox="1">
            <a:spLocks/>
          </p:cNvSpPr>
          <p:nvPr/>
        </p:nvSpPr>
        <p:spPr bwMode="auto">
          <a:xfrm>
            <a:off x="3310152" y="2644867"/>
            <a:ext cx="2785849" cy="1510771"/>
          </a:xfrm>
          <a:prstGeom prst="rect">
            <a:avLst/>
          </a:prstGeom>
          <a:ln w="9525">
            <a:solidFill>
              <a:schemeClr val="bg2"/>
            </a:solidFill>
          </a:ln>
        </p:spPr>
        <p:txBody>
          <a:bodyPr vert="horz" lIns="144000" tIns="108000" rIns="144000" bIns="10800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US" sz="1400" dirty="0"/>
              <a:t>Providing a secured Public Key Infrastructure</a:t>
            </a:r>
          </a:p>
          <a:p>
            <a:r>
              <a:rPr lang="en-US" sz="1400" dirty="0"/>
              <a:t>Custom certificate loading </a:t>
            </a:r>
            <a:br>
              <a:rPr lang="en-US" sz="1400" dirty="0"/>
            </a:br>
            <a:r>
              <a:rPr lang="en-US" sz="1400" dirty="0"/>
              <a:t>in secured Production Environment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BA71FE72-0C6E-60A9-0453-60402360C250}"/>
              </a:ext>
            </a:extLst>
          </p:cNvPr>
          <p:cNvSpPr>
            <a:spLocks/>
          </p:cNvSpPr>
          <p:nvPr/>
        </p:nvSpPr>
        <p:spPr bwMode="auto">
          <a:xfrm>
            <a:off x="3310398" y="2644867"/>
            <a:ext cx="2785596" cy="508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E94F6885-2EE5-C848-B22D-A9D50DA99C36}"/>
              </a:ext>
            </a:extLst>
          </p:cNvPr>
          <p:cNvSpPr txBox="1">
            <a:spLocks/>
          </p:cNvSpPr>
          <p:nvPr/>
        </p:nvSpPr>
        <p:spPr bwMode="auto">
          <a:xfrm>
            <a:off x="344304" y="4877166"/>
            <a:ext cx="2785849" cy="1510771"/>
          </a:xfrm>
          <a:prstGeom prst="rect">
            <a:avLst/>
          </a:prstGeom>
          <a:ln w="9525">
            <a:solidFill>
              <a:schemeClr val="bg2"/>
            </a:solidFill>
          </a:ln>
        </p:spPr>
        <p:txBody>
          <a:bodyPr vert="horz" lIns="144000" tIns="108000" rIns="144000" bIns="10800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US" sz="1400" dirty="0"/>
              <a:t>Answering questions immediately</a:t>
            </a:r>
          </a:p>
          <a:p>
            <a:r>
              <a:rPr lang="en-US" sz="1400" dirty="0"/>
              <a:t>Two Level Customer </a:t>
            </a:r>
            <a:br>
              <a:rPr lang="en-US" sz="1400" dirty="0"/>
            </a:br>
            <a:r>
              <a:rPr lang="en-US" sz="1400" dirty="0"/>
              <a:t>servic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68D7A7F6-F052-639A-2BAF-85A3968F818D}"/>
              </a:ext>
            </a:extLst>
          </p:cNvPr>
          <p:cNvSpPr>
            <a:spLocks/>
          </p:cNvSpPr>
          <p:nvPr/>
        </p:nvSpPr>
        <p:spPr bwMode="auto">
          <a:xfrm>
            <a:off x="344550" y="4877166"/>
            <a:ext cx="2785596" cy="508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BC5B42A4-FC15-B478-B5CB-7F7CEC4BB4B5}"/>
              </a:ext>
            </a:extLst>
          </p:cNvPr>
          <p:cNvSpPr txBox="1">
            <a:spLocks/>
          </p:cNvSpPr>
          <p:nvPr/>
        </p:nvSpPr>
        <p:spPr bwMode="auto">
          <a:xfrm>
            <a:off x="3310152" y="4877166"/>
            <a:ext cx="2785849" cy="1510771"/>
          </a:xfrm>
          <a:prstGeom prst="rect">
            <a:avLst/>
          </a:prstGeom>
          <a:ln w="9525">
            <a:solidFill>
              <a:schemeClr val="bg2"/>
            </a:solidFill>
          </a:ln>
        </p:spPr>
        <p:txBody>
          <a:bodyPr vert="horz" lIns="144000" tIns="108000" rIns="144000" bIns="10800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US" sz="1400" dirty="0"/>
              <a:t>Providing trainings for our security products</a:t>
            </a:r>
          </a:p>
          <a:p>
            <a:r>
              <a:rPr lang="en-US" sz="1400" dirty="0"/>
              <a:t>Showing Demo Applications as a starting point for custom design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8BDD1873-D1E1-A1E3-65CF-47811B91CE88}"/>
              </a:ext>
            </a:extLst>
          </p:cNvPr>
          <p:cNvSpPr>
            <a:spLocks/>
          </p:cNvSpPr>
          <p:nvPr/>
        </p:nvSpPr>
        <p:spPr bwMode="auto">
          <a:xfrm>
            <a:off x="3310398" y="4877166"/>
            <a:ext cx="2785596" cy="508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243C7E3E-000E-4E49-2A74-E131125FD5CF}"/>
              </a:ext>
            </a:extLst>
          </p:cNvPr>
          <p:cNvSpPr/>
          <p:nvPr/>
        </p:nvSpPr>
        <p:spPr bwMode="auto">
          <a:xfrm>
            <a:off x="344303" y="1341117"/>
            <a:ext cx="57516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eaLnBrk="0" hangingPunct="0"/>
            <a:r>
              <a:rPr lang="en-US" sz="1800" b="1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e support you by …</a:t>
            </a:r>
          </a:p>
        </p:txBody>
      </p:sp>
      <p:pic>
        <p:nvPicPr>
          <p:cNvPr id="52" name="Key">
            <a:extLst>
              <a:ext uri="{FF2B5EF4-FFF2-40B4-BE49-F238E27FC236}">
                <a16:creationId xmlns:a16="http://schemas.microsoft.com/office/drawing/2014/main" id="{D9C3ABC3-A4A1-107D-27BD-5BB06344392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10398" y="1993150"/>
            <a:ext cx="457200" cy="457200"/>
          </a:xfrm>
          <a:prstGeom prst="rect">
            <a:avLst/>
          </a:prstGeom>
        </p:spPr>
      </p:pic>
      <p:pic>
        <p:nvPicPr>
          <p:cNvPr id="53" name="Chat">
            <a:extLst>
              <a:ext uri="{FF2B5EF4-FFF2-40B4-BE49-F238E27FC236}">
                <a16:creationId xmlns:a16="http://schemas.microsoft.com/office/drawing/2014/main" id="{A1B10A5A-F415-1D26-0E07-FDB9DDBCF47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44550" y="4361272"/>
            <a:ext cx="457200" cy="457200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84F6B9F0-E629-45BD-2203-99123D7747CE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44550" y="1993150"/>
            <a:ext cx="457200" cy="457200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E4888F81-9FAC-F2D5-59AB-EFA9E9E5B9C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310398" y="4361272"/>
            <a:ext cx="457200" cy="4572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B0E1B074-9D15-D47C-D9A2-C466EAAF4D9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87" r="28433"/>
          <a:stretch/>
        </p:blipFill>
        <p:spPr>
          <a:xfrm>
            <a:off x="6788029" y="0"/>
            <a:ext cx="5403972" cy="6381754"/>
          </a:xfrm>
          <a:custGeom>
            <a:avLst/>
            <a:gdLst>
              <a:gd name="connsiteX0" fmla="*/ 1221893 w 5403972"/>
              <a:gd name="connsiteY0" fmla="*/ 0 h 6381747"/>
              <a:gd name="connsiteX1" fmla="*/ 5403972 w 5403972"/>
              <a:gd name="connsiteY1" fmla="*/ 0 h 6381747"/>
              <a:gd name="connsiteX2" fmla="*/ 5403972 w 5403972"/>
              <a:gd name="connsiteY2" fmla="*/ 6381747 h 6381747"/>
              <a:gd name="connsiteX3" fmla="*/ 291729 w 5403972"/>
              <a:gd name="connsiteY3" fmla="*/ 6381747 h 6381747"/>
              <a:gd name="connsiteX4" fmla="*/ 0 w 5403972"/>
              <a:gd name="connsiteY4" fmla="*/ 4864498 h 638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3972" h="6381747">
                <a:moveTo>
                  <a:pt x="1221893" y="0"/>
                </a:moveTo>
                <a:lnTo>
                  <a:pt x="5403972" y="0"/>
                </a:lnTo>
                <a:lnTo>
                  <a:pt x="5403972" y="6381747"/>
                </a:lnTo>
                <a:lnTo>
                  <a:pt x="291729" y="6381747"/>
                </a:lnTo>
                <a:lnTo>
                  <a:pt x="0" y="486449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53657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AFD7E12-3A83-911D-EB5D-2E3A432184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5886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FD7E12-3A83-911D-EB5D-2E3A432184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37DF261-95F8-1E5D-7D72-85A798EBE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ey take-aways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571C557-09F3-6D82-79DF-CBFDDF941987}"/>
              </a:ext>
            </a:extLst>
          </p:cNvPr>
          <p:cNvSpPr txBox="1">
            <a:spLocks/>
          </p:cNvSpPr>
          <p:nvPr/>
        </p:nvSpPr>
        <p:spPr bwMode="auto">
          <a:xfrm>
            <a:off x="344302" y="1690820"/>
            <a:ext cx="5751698" cy="864440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 marL="180975" indent="-180975">
              <a:buNone/>
            </a:pPr>
            <a:r>
              <a:rPr lang="en-US" sz="1400" dirty="0"/>
              <a:t>… is essential and </a:t>
            </a:r>
            <a:r>
              <a:rPr lang="en-US" sz="1400" b="1" dirty="0"/>
              <a:t>HW-based security provides </a:t>
            </a:r>
            <a:br>
              <a:rPr lang="en-US" sz="1400" b="1" dirty="0"/>
            </a:br>
            <a:r>
              <a:rPr lang="en-US" sz="1400" b="1" dirty="0"/>
              <a:t> benefits beyond strong security </a:t>
            </a:r>
            <a:r>
              <a:rPr lang="en-US" sz="1400" dirty="0"/>
              <a:t>including time to market,</a:t>
            </a:r>
            <a:br>
              <a:rPr lang="en-US" sz="1400" dirty="0"/>
            </a:br>
            <a:r>
              <a:rPr lang="en-US" sz="1400" dirty="0"/>
              <a:t> logistics and scalability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7C47074-DB2A-91B7-DED3-A031CD394B3E}"/>
              </a:ext>
            </a:extLst>
          </p:cNvPr>
          <p:cNvSpPr txBox="1">
            <a:spLocks/>
          </p:cNvSpPr>
          <p:nvPr/>
        </p:nvSpPr>
        <p:spPr bwMode="auto">
          <a:xfrm>
            <a:off x="344302" y="3429000"/>
            <a:ext cx="5751698" cy="864440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 marL="180975" indent="-180975">
              <a:buNone/>
            </a:pPr>
            <a:r>
              <a:rPr lang="en-US" sz="1400" dirty="0"/>
              <a:t>… coming in near the future because of </a:t>
            </a:r>
            <a:r>
              <a:rPr lang="en-US" sz="1400" b="1" dirty="0"/>
              <a:t>quantum </a:t>
            </a:r>
            <a:br>
              <a:rPr lang="en-US" sz="1400" b="1" dirty="0"/>
            </a:br>
            <a:r>
              <a:rPr lang="en-US" sz="1400" b="1" dirty="0"/>
              <a:t> computers</a:t>
            </a:r>
            <a:r>
              <a:rPr lang="en-US" sz="1400" dirty="0"/>
              <a:t> and the threat to existing </a:t>
            </a:r>
            <a:br>
              <a:rPr lang="en-US" sz="1400" dirty="0"/>
            </a:br>
            <a:r>
              <a:rPr lang="en-US" sz="1400" dirty="0"/>
              <a:t> cryptographic algorithm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1A2E1F3-DA0F-DD92-CF78-5EEBA5586E2C}"/>
              </a:ext>
            </a:extLst>
          </p:cNvPr>
          <p:cNvSpPr txBox="1">
            <a:spLocks/>
          </p:cNvSpPr>
          <p:nvPr/>
        </p:nvSpPr>
        <p:spPr bwMode="auto">
          <a:xfrm>
            <a:off x="344302" y="5161151"/>
            <a:ext cx="5751698" cy="1079884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 marL="180975" indent="-180975">
              <a:buNone/>
            </a:pPr>
            <a:r>
              <a:rPr lang="en-US" sz="1400" dirty="0"/>
              <a:t>… with a </a:t>
            </a:r>
            <a:r>
              <a:rPr lang="en-US" sz="1400" b="1" dirty="0"/>
              <a:t>PQC-protected update mechanism</a:t>
            </a:r>
            <a:r>
              <a:rPr lang="en-US" sz="1400" dirty="0"/>
              <a:t> </a:t>
            </a:r>
            <a:br>
              <a:rPr lang="en-US" sz="1400" dirty="0"/>
            </a:br>
            <a:r>
              <a:rPr lang="en-US" sz="1400" dirty="0"/>
              <a:t> and an </a:t>
            </a:r>
            <a:r>
              <a:rPr lang="en-US" sz="1400" b="1" dirty="0"/>
              <a:t>I2C inter-face </a:t>
            </a:r>
            <a:r>
              <a:rPr lang="en-US" sz="1400" dirty="0"/>
              <a:t>suited for network infrastructure, </a:t>
            </a:r>
            <a:br>
              <a:rPr lang="en-US" sz="1400" dirty="0"/>
            </a:br>
            <a:r>
              <a:rPr lang="en-US" sz="1400" dirty="0"/>
              <a:t> light industrial machines such as factory robots, </a:t>
            </a:r>
            <a:br>
              <a:rPr lang="en-US" sz="1400" dirty="0"/>
            </a:br>
            <a:r>
              <a:rPr lang="en-US" sz="1400" dirty="0"/>
              <a:t> and Programmable Logic Controllers (PLC) </a:t>
            </a:r>
          </a:p>
        </p:txBody>
      </p:sp>
      <p:pic>
        <p:nvPicPr>
          <p:cNvPr id="19" name="Check">
            <a:extLst>
              <a:ext uri="{FF2B5EF4-FFF2-40B4-BE49-F238E27FC236}">
                <a16:creationId xmlns:a16="http://schemas.microsoft.com/office/drawing/2014/main" id="{20767BAC-5856-C196-EF56-688BD6BEE58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19936" y="1912701"/>
            <a:ext cx="457200" cy="457200"/>
          </a:xfrm>
          <a:prstGeom prst="rect">
            <a:avLst/>
          </a:prstGeom>
        </p:spPr>
      </p:pic>
      <p:pic>
        <p:nvPicPr>
          <p:cNvPr id="20" name="Check">
            <a:extLst>
              <a:ext uri="{FF2B5EF4-FFF2-40B4-BE49-F238E27FC236}">
                <a16:creationId xmlns:a16="http://schemas.microsoft.com/office/drawing/2014/main" id="{6D1E7002-2732-70BC-D491-24C21557167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19936" y="3658020"/>
            <a:ext cx="457200" cy="457200"/>
          </a:xfrm>
          <a:prstGeom prst="rect">
            <a:avLst/>
          </a:prstGeom>
        </p:spPr>
      </p:pic>
      <p:pic>
        <p:nvPicPr>
          <p:cNvPr id="21" name="Check">
            <a:extLst>
              <a:ext uri="{FF2B5EF4-FFF2-40B4-BE49-F238E27FC236}">
                <a16:creationId xmlns:a16="http://schemas.microsoft.com/office/drawing/2014/main" id="{A823CCAD-645E-673E-0DC3-1788658CB39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19936" y="5472493"/>
            <a:ext cx="457200" cy="4572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F3D4F09F-6841-082D-A0F5-51D584E0D1DB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9" b="2161"/>
          <a:stretch/>
        </p:blipFill>
        <p:spPr>
          <a:xfrm>
            <a:off x="6788029" y="1"/>
            <a:ext cx="5403972" cy="6381752"/>
          </a:xfrm>
          <a:custGeom>
            <a:avLst/>
            <a:gdLst>
              <a:gd name="connsiteX0" fmla="*/ 1221893 w 5403972"/>
              <a:gd name="connsiteY0" fmla="*/ 0 h 6381747"/>
              <a:gd name="connsiteX1" fmla="*/ 5403972 w 5403972"/>
              <a:gd name="connsiteY1" fmla="*/ 0 h 6381747"/>
              <a:gd name="connsiteX2" fmla="*/ 5403972 w 5403972"/>
              <a:gd name="connsiteY2" fmla="*/ 6381747 h 6381747"/>
              <a:gd name="connsiteX3" fmla="*/ 291729 w 5403972"/>
              <a:gd name="connsiteY3" fmla="*/ 6381747 h 6381747"/>
              <a:gd name="connsiteX4" fmla="*/ 0 w 5403972"/>
              <a:gd name="connsiteY4" fmla="*/ 4864498 h 638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3972" h="6381747">
                <a:moveTo>
                  <a:pt x="1221893" y="0"/>
                </a:moveTo>
                <a:lnTo>
                  <a:pt x="5403972" y="0"/>
                </a:lnTo>
                <a:lnTo>
                  <a:pt x="5403972" y="6381747"/>
                </a:lnTo>
                <a:lnTo>
                  <a:pt x="291729" y="6381747"/>
                </a:lnTo>
                <a:lnTo>
                  <a:pt x="0" y="4864498"/>
                </a:lnTo>
                <a:close/>
              </a:path>
            </a:pathLst>
          </a:cu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F29CF7D4-85EF-A882-8B28-6300CB085D9A}"/>
              </a:ext>
            </a:extLst>
          </p:cNvPr>
          <p:cNvGrpSpPr>
            <a:grpSpLocks/>
          </p:cNvGrpSpPr>
          <p:nvPr/>
        </p:nvGrpSpPr>
        <p:grpSpPr>
          <a:xfrm>
            <a:off x="334432" y="2999156"/>
            <a:ext cx="5751698" cy="357140"/>
            <a:chOff x="334432" y="1271660"/>
            <a:chExt cx="5762495" cy="357140"/>
          </a:xfrm>
        </p:grpSpPr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29E844DA-2522-A7B6-3E89-B1BEE8F62A8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34432" y="1271660"/>
              <a:ext cx="576156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noAutofit/>
            </a:bodyPr>
            <a:lstStyle/>
            <a:p>
              <a:pPr defTabSz="914377" fontAlgn="auto">
                <a:spcAft>
                  <a:spcPts val="0"/>
                </a:spcAft>
                <a:buClr>
                  <a:srgbClr val="FFFFFF"/>
                </a:buClr>
                <a:defRPr/>
              </a:pPr>
              <a:r>
                <a:rPr lang="en-US" sz="18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New requirements …</a:t>
              </a:r>
            </a:p>
          </p:txBody>
        </p:sp>
        <p:cxnSp>
          <p:nvCxnSpPr>
            <p:cNvPr id="25" name="Gerade Verbindung 33">
              <a:extLst>
                <a:ext uri="{FF2B5EF4-FFF2-40B4-BE49-F238E27FC236}">
                  <a16:creationId xmlns:a16="http://schemas.microsoft.com/office/drawing/2014/main" id="{74027F46-85FD-8AA4-6E52-8C64C6CFD6DC}"/>
                </a:ext>
              </a:extLst>
            </p:cNvPr>
            <p:cNvCxnSpPr>
              <a:cxnSpLocks/>
            </p:cNvCxnSpPr>
            <p:nvPr/>
          </p:nvCxnSpPr>
          <p:spPr>
            <a:xfrm>
              <a:off x="335360" y="1628800"/>
              <a:ext cx="5761567" cy="0"/>
            </a:xfrm>
            <a:prstGeom prst="line">
              <a:avLst/>
            </a:prstGeom>
            <a:ln w="952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3833B2B-583D-BFCC-0D2D-4AE85A393315}"/>
              </a:ext>
            </a:extLst>
          </p:cNvPr>
          <p:cNvGrpSpPr>
            <a:grpSpLocks/>
          </p:cNvGrpSpPr>
          <p:nvPr/>
        </p:nvGrpSpPr>
        <p:grpSpPr>
          <a:xfrm>
            <a:off x="334432" y="4731307"/>
            <a:ext cx="5751698" cy="357140"/>
            <a:chOff x="334432" y="1271660"/>
            <a:chExt cx="5762495" cy="357140"/>
          </a:xfrm>
        </p:grpSpPr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BFA79B75-99B6-D3D0-D731-B9BBB3BC397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34432" y="1271660"/>
              <a:ext cx="576156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575986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30034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/>
                </a:rPr>
                <a:t>OPTIGA™ TPM SLB 9673 …</a:t>
              </a:r>
            </a:p>
          </p:txBody>
        </p:sp>
        <p:cxnSp>
          <p:nvCxnSpPr>
            <p:cNvPr id="28" name="Gerade Verbindung 33">
              <a:extLst>
                <a:ext uri="{FF2B5EF4-FFF2-40B4-BE49-F238E27FC236}">
                  <a16:creationId xmlns:a16="http://schemas.microsoft.com/office/drawing/2014/main" id="{D6F34D15-E653-4CEF-54DA-343790D81406}"/>
                </a:ext>
              </a:extLst>
            </p:cNvPr>
            <p:cNvCxnSpPr>
              <a:cxnSpLocks/>
            </p:cNvCxnSpPr>
            <p:nvPr/>
          </p:nvCxnSpPr>
          <p:spPr>
            <a:xfrm>
              <a:off x="335360" y="1628800"/>
              <a:ext cx="5761567" cy="0"/>
            </a:xfrm>
            <a:prstGeom prst="line">
              <a:avLst/>
            </a:prstGeom>
            <a:ln w="952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FF4D5C2-9C98-122B-F28C-AF9E8DB2BCA1}"/>
              </a:ext>
            </a:extLst>
          </p:cNvPr>
          <p:cNvGrpSpPr>
            <a:grpSpLocks/>
          </p:cNvGrpSpPr>
          <p:nvPr/>
        </p:nvGrpSpPr>
        <p:grpSpPr>
          <a:xfrm>
            <a:off x="334432" y="1271660"/>
            <a:ext cx="5751698" cy="357140"/>
            <a:chOff x="334432" y="1271660"/>
            <a:chExt cx="5762495" cy="357140"/>
          </a:xfrm>
        </p:grpSpPr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D2DDC8B6-E26C-60C8-0305-5B611B8C9E4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34432" y="1271660"/>
              <a:ext cx="576156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noAutofit/>
            </a:bodyPr>
            <a:lstStyle/>
            <a:p>
              <a:pPr eaLnBrk="0" hangingPunct="0"/>
              <a:r>
                <a:rPr lang="en-US" sz="1800" b="1" dirty="0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Security …</a:t>
              </a:r>
            </a:p>
          </p:txBody>
        </p:sp>
        <p:cxnSp>
          <p:nvCxnSpPr>
            <p:cNvPr id="31" name="Gerade Verbindung 33">
              <a:extLst>
                <a:ext uri="{FF2B5EF4-FFF2-40B4-BE49-F238E27FC236}">
                  <a16:creationId xmlns:a16="http://schemas.microsoft.com/office/drawing/2014/main" id="{9EB23F4C-7804-95E3-7E6C-AEB05D475C05}"/>
                </a:ext>
              </a:extLst>
            </p:cNvPr>
            <p:cNvCxnSpPr>
              <a:cxnSpLocks/>
            </p:cNvCxnSpPr>
            <p:nvPr/>
          </p:nvCxnSpPr>
          <p:spPr>
            <a:xfrm>
              <a:off x="335360" y="1628800"/>
              <a:ext cx="5761567" cy="0"/>
            </a:xfrm>
            <a:prstGeom prst="line">
              <a:avLst/>
            </a:prstGeom>
            <a:ln w="952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573593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CD615B1-B9FB-8D65-DF21-58119739708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6" name="think-cell Folie" r:id="rId8" imgW="344" imgH="345" progId="TCLayout.ActiveDocument.1">
                  <p:embed/>
                </p:oleObj>
              </mc:Choice>
              <mc:Fallback>
                <p:oleObj name="think-cell Folie" r:id="rId8" imgW="344" imgH="34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D615B1-B9FB-8D65-DF21-581197397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BF3F4493-1708-9C18-67AA-E3849FC48751}"/>
              </a:ext>
            </a:extLst>
          </p:cNvPr>
          <p:cNvSpPr txBox="1"/>
          <p:nvPr/>
        </p:nvSpPr>
        <p:spPr bwMode="auto">
          <a:xfrm>
            <a:off x="334434" y="1268760"/>
            <a:ext cx="446542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914377" eaLnBrk="0" hangingPunct="0">
              <a:buClr>
                <a:srgbClr val="000000"/>
              </a:buClr>
              <a:defRPr/>
            </a:pPr>
            <a:r>
              <a:rPr lang="en-US" sz="1800" dirty="0"/>
              <a:t>Find out more information and tools on the </a:t>
            </a:r>
            <a:endParaRPr lang="en-US" sz="1800" u="sng" dirty="0">
              <a:solidFill>
                <a:srgbClr val="FFFFFF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D475BEA-6BD4-32F1-003B-A4263C571859}"/>
              </a:ext>
            </a:extLst>
          </p:cNvPr>
          <p:cNvSpPr txBox="1">
            <a:spLocks/>
          </p:cNvSpPr>
          <p:nvPr/>
        </p:nvSpPr>
        <p:spPr bwMode="auto">
          <a:xfrm>
            <a:off x="334434" y="1623621"/>
            <a:ext cx="4465422" cy="49510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44000" tIns="108000" rIns="144000" bIns="108000" rtlCol="0" anchor="t" anchorCtr="0">
            <a:noAutofit/>
          </a:bodyPr>
          <a:lstStyle/>
          <a:p>
            <a:pPr defTabSz="914377" eaLnBrk="0" hangingPunct="0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1800" dirty="0">
                <a:solidFill>
                  <a:schemeClr val="bg1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TIGA™ TPM SLB 9673 product page</a:t>
            </a:r>
            <a:endParaRPr lang="en-US" sz="1800" u="sng" dirty="0">
              <a:solidFill>
                <a:schemeClr val="bg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7E72466-1FF1-34C0-2AE9-3DA3481494A3}"/>
              </a:ext>
            </a:extLst>
          </p:cNvPr>
          <p:cNvSpPr txBox="1">
            <a:spLocks/>
          </p:cNvSpPr>
          <p:nvPr/>
        </p:nvSpPr>
        <p:spPr bwMode="auto">
          <a:xfrm>
            <a:off x="334434" y="2691699"/>
            <a:ext cx="446542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914377" eaLnBrk="0" hangingPunct="0">
              <a:buClr>
                <a:srgbClr val="000000"/>
              </a:buClr>
              <a:defRPr/>
            </a:pPr>
            <a:r>
              <a:rPr lang="en-US" sz="1800" dirty="0"/>
              <a:t>and our</a:t>
            </a:r>
            <a:endParaRPr lang="en-US" sz="1800" u="sng" dirty="0">
              <a:solidFill>
                <a:srgbClr val="FFFFFF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F81096B-24EA-3E55-2D87-3C40FDFA06B8}"/>
              </a:ext>
            </a:extLst>
          </p:cNvPr>
          <p:cNvSpPr txBox="1">
            <a:spLocks/>
          </p:cNvSpPr>
          <p:nvPr/>
        </p:nvSpPr>
        <p:spPr bwMode="auto">
          <a:xfrm>
            <a:off x="334434" y="3049202"/>
            <a:ext cx="4465422" cy="49510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44000" tIns="108000" rIns="144000" bIns="108000" rtlCol="0" anchor="t" anchorCtr="0">
            <a:noAutofit/>
          </a:bodyPr>
          <a:lstStyle/>
          <a:p>
            <a:pPr defTabSz="914377" eaLnBrk="0" hangingPunct="0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1800" dirty="0" err="1">
                <a:solidFill>
                  <a:schemeClr val="bg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r>
              <a:rPr lang="en-US" sz="1800" dirty="0">
                <a:solidFill>
                  <a:schemeClr val="bg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repository</a:t>
            </a:r>
            <a:endParaRPr lang="en-US" sz="1800" u="sng" dirty="0">
              <a:solidFill>
                <a:schemeClr val="bg1"/>
              </a:solidFill>
            </a:endParaRPr>
          </a:p>
        </p:txBody>
      </p:sp>
      <p:pic>
        <p:nvPicPr>
          <p:cNvPr id="14" name="Web">
            <a:extLst>
              <a:ext uri="{FF2B5EF4-FFF2-40B4-BE49-F238E27FC236}">
                <a16:creationId xmlns:a16="http://schemas.microsoft.com/office/drawing/2014/main" id="{C50F4E5C-1179-7A01-BC23-42EAE68440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46322" y="5159640"/>
            <a:ext cx="1249177" cy="124917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F1FE78AD-8533-ED2C-B57E-829FFCA1CD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67" r="30401"/>
          <a:stretch/>
        </p:blipFill>
        <p:spPr>
          <a:xfrm>
            <a:off x="6788029" y="0"/>
            <a:ext cx="5403972" cy="6381754"/>
          </a:xfrm>
          <a:custGeom>
            <a:avLst/>
            <a:gdLst>
              <a:gd name="connsiteX0" fmla="*/ 1221893 w 5403972"/>
              <a:gd name="connsiteY0" fmla="*/ 0 h 6381747"/>
              <a:gd name="connsiteX1" fmla="*/ 5403972 w 5403972"/>
              <a:gd name="connsiteY1" fmla="*/ 0 h 6381747"/>
              <a:gd name="connsiteX2" fmla="*/ 5403972 w 5403972"/>
              <a:gd name="connsiteY2" fmla="*/ 6381747 h 6381747"/>
              <a:gd name="connsiteX3" fmla="*/ 291729 w 5403972"/>
              <a:gd name="connsiteY3" fmla="*/ 6381747 h 6381747"/>
              <a:gd name="connsiteX4" fmla="*/ 0 w 5403972"/>
              <a:gd name="connsiteY4" fmla="*/ 4864498 h 638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3972" h="6381747">
                <a:moveTo>
                  <a:pt x="1221893" y="0"/>
                </a:moveTo>
                <a:lnTo>
                  <a:pt x="5403972" y="0"/>
                </a:lnTo>
                <a:lnTo>
                  <a:pt x="5403972" y="6381747"/>
                </a:lnTo>
                <a:lnTo>
                  <a:pt x="291729" y="6381747"/>
                </a:lnTo>
                <a:lnTo>
                  <a:pt x="0" y="4864498"/>
                </a:lnTo>
                <a:close/>
              </a:path>
            </a:pathLst>
          </a:cu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54058832"/>
      </p:ext>
    </p:extLst>
  </p:cSld>
  <p:clrMapOvr>
    <a:masterClrMapping/>
  </p:clrMapOvr>
  <p:transition spd="slow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CD1306F-E155-CA18-2138-6769BFB650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546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Folie" r:id="rId8" imgW="344" imgH="345" progId="TCLayout.ActiveDocument.1">
                  <p:embed/>
                </p:oleObj>
              </mc:Choice>
              <mc:Fallback>
                <p:oleObj name="think-cell Folie" r:id="rId8" imgW="344" imgH="34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D1306F-E155-CA18-2138-6769BFB650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AE92E142-CF5A-B9C7-ADBE-AAD6B1E5F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y security is essential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47F1000-FEB4-DF8A-8436-171BAD89670A}"/>
              </a:ext>
            </a:extLst>
          </p:cNvPr>
          <p:cNvSpPr txBox="1">
            <a:spLocks/>
          </p:cNvSpPr>
          <p:nvPr/>
        </p:nvSpPr>
        <p:spPr bwMode="auto">
          <a:xfrm>
            <a:off x="8399451" y="4955716"/>
            <a:ext cx="3456000" cy="940051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dirty="0"/>
              <a:t>We believe in hardware-based security as the essential trust anchor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63E4AC8-CF07-A163-A79D-F4F241698160}"/>
              </a:ext>
            </a:extLst>
          </p:cNvPr>
          <p:cNvSpPr txBox="1">
            <a:spLocks/>
          </p:cNvSpPr>
          <p:nvPr/>
        </p:nvSpPr>
        <p:spPr bwMode="auto">
          <a:xfrm>
            <a:off x="4368000" y="4955716"/>
            <a:ext cx="3456000" cy="663053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dirty="0"/>
              <a:t>The connected world is further driving the demand for security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77DA9D-B0EB-3318-4536-856474E777F7}"/>
              </a:ext>
            </a:extLst>
          </p:cNvPr>
          <p:cNvSpPr>
            <a:spLocks/>
          </p:cNvSpPr>
          <p:nvPr/>
        </p:nvSpPr>
        <p:spPr bwMode="auto">
          <a:xfrm>
            <a:off x="4368000" y="4955716"/>
            <a:ext cx="3456000" cy="508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68AAB6E-B3FC-ACDE-6296-0FC0E0F4C071}"/>
              </a:ext>
            </a:extLst>
          </p:cNvPr>
          <p:cNvSpPr txBox="1">
            <a:spLocks/>
          </p:cNvSpPr>
          <p:nvPr/>
        </p:nvSpPr>
        <p:spPr bwMode="auto">
          <a:xfrm>
            <a:off x="334434" y="4955716"/>
            <a:ext cx="3456000" cy="940051"/>
          </a:xfrm>
          <a:prstGeom prst="rect">
            <a:avLst/>
          </a:prstGeom>
          <a:ln w="9525">
            <a:noFill/>
          </a:ln>
        </p:spPr>
        <p:txBody>
          <a:bodyPr vert="horz" lIns="0" tIns="10800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dirty="0"/>
              <a:t>Security is a fundamental </a:t>
            </a:r>
            <a:br>
              <a:rPr lang="en-US" dirty="0"/>
            </a:br>
            <a:r>
              <a:rPr lang="en-US" dirty="0"/>
              <a:t>need of society with increasing importance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56A41CE-2B63-A667-AB1C-D45C17C7E78F}"/>
              </a:ext>
            </a:extLst>
          </p:cNvPr>
          <p:cNvSpPr/>
          <p:nvPr/>
        </p:nvSpPr>
        <p:spPr bwMode="auto">
          <a:xfrm>
            <a:off x="8399451" y="4955716"/>
            <a:ext cx="3456000" cy="508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6" name="Web">
            <a:extLst>
              <a:ext uri="{FF2B5EF4-FFF2-40B4-BE49-F238E27FC236}">
                <a16:creationId xmlns:a16="http://schemas.microsoft.com/office/drawing/2014/main" id="{2382DE2B-977F-3707-548F-BBFB50E743A5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68000" y="4005064"/>
            <a:ext cx="756084" cy="756084"/>
          </a:xfrm>
          <a:prstGeom prst="rect">
            <a:avLst/>
          </a:prstGeom>
        </p:spPr>
      </p:pic>
      <p:pic>
        <p:nvPicPr>
          <p:cNvPr id="17" name="RAM">
            <a:extLst>
              <a:ext uri="{FF2B5EF4-FFF2-40B4-BE49-F238E27FC236}">
                <a16:creationId xmlns:a16="http://schemas.microsoft.com/office/drawing/2014/main" id="{72E351D0-185D-A7C8-E006-E23B20D02EB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34434" y="4005064"/>
            <a:ext cx="756084" cy="756084"/>
          </a:xfrm>
          <a:prstGeom prst="rect">
            <a:avLst/>
          </a:prstGeom>
        </p:spPr>
      </p:pic>
      <p:pic>
        <p:nvPicPr>
          <p:cNvPr id="18" name="Key">
            <a:extLst>
              <a:ext uri="{FF2B5EF4-FFF2-40B4-BE49-F238E27FC236}">
                <a16:creationId xmlns:a16="http://schemas.microsoft.com/office/drawing/2014/main" id="{C1DCB506-49FB-F274-D34F-2AD63ECBE20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580276" y="4005064"/>
            <a:ext cx="756084" cy="756084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08D15E0A-49E6-692F-DC53-6196ED54BF33}"/>
              </a:ext>
            </a:extLst>
          </p:cNvPr>
          <p:cNvSpPr/>
          <p:nvPr/>
        </p:nvSpPr>
        <p:spPr bwMode="auto">
          <a:xfrm>
            <a:off x="334434" y="4955716"/>
            <a:ext cx="3456000" cy="508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9" name="Smartphone Interaction">
            <a:extLst>
              <a:ext uri="{FF2B5EF4-FFF2-40B4-BE49-F238E27FC236}">
                <a16:creationId xmlns:a16="http://schemas.microsoft.com/office/drawing/2014/main" id="{A94C3565-FE19-A8A6-2D11-7E5DF50DAF39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641" b="24799"/>
          <a:stretch/>
        </p:blipFill>
        <p:spPr>
          <a:xfrm>
            <a:off x="0" y="1268414"/>
            <a:ext cx="1219200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827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60439C8-2358-1D18-7502-62741C6E8FE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58709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Q&amp;A">
            <a:extLst>
              <a:ext uri="{FF2B5EF4-FFF2-40B4-BE49-F238E27FC236}">
                <a16:creationId xmlns:a16="http://schemas.microsoft.com/office/drawing/2014/main" id="{2870074B-97A7-894A-533B-20A0FC30905A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11" r="11511"/>
          <a:stretch/>
        </p:blipFill>
        <p:spPr>
          <a:xfrm flipH="1">
            <a:off x="4277084" y="-4"/>
            <a:ext cx="7914916" cy="685800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7554DB7-5C53-185A-BFA4-52361BA0EAB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00000">
            <a:off x="-646348" y="638133"/>
            <a:ext cx="6858002" cy="5581737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9F323937-F848-46C0-5A71-7071E5D6EDE6}"/>
              </a:ext>
            </a:extLst>
          </p:cNvPr>
          <p:cNvSpPr txBox="1"/>
          <p:nvPr/>
        </p:nvSpPr>
        <p:spPr bwMode="auto">
          <a:xfrm>
            <a:off x="334434" y="1448780"/>
            <a:ext cx="360000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US" sz="3600" b="1" kern="0" dirty="0">
                <a:solidFill>
                  <a:schemeClr val="tx2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TPM as </a:t>
            </a:r>
            <a:br>
              <a:rPr lang="en-US" sz="3600" b="1" kern="0" dirty="0">
                <a:solidFill>
                  <a:schemeClr val="tx2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</a:br>
            <a:r>
              <a:rPr lang="en-US" sz="3600" b="1" kern="0" dirty="0">
                <a:solidFill>
                  <a:schemeClr val="tx2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oot of Trus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24960110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3AAFFE-B5AC-2F56-CE88-5F5DF98BD1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3AAFFE-B5AC-2F56-CE88-5F5DF98BD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CCF09B8B-A52B-94FF-4C0D-65EC4097F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ecuring systems starts by securing components </a:t>
            </a:r>
            <a:br>
              <a:rPr lang="en-US" dirty="0"/>
            </a:br>
            <a:r>
              <a:rPr lang="en-US" dirty="0"/>
              <a:t>with hardware-based roots of trust</a:t>
            </a:r>
          </a:p>
        </p:txBody>
      </p:sp>
      <p:grpSp>
        <p:nvGrpSpPr>
          <p:cNvPr id="9" name="Grafik 5">
            <a:extLst>
              <a:ext uri="{FF2B5EF4-FFF2-40B4-BE49-F238E27FC236}">
                <a16:creationId xmlns:a16="http://schemas.microsoft.com/office/drawing/2014/main" id="{8FB6AE54-38BC-B645-AD4B-1FB23240B5A5}"/>
              </a:ext>
            </a:extLst>
          </p:cNvPr>
          <p:cNvGrpSpPr/>
          <p:nvPr/>
        </p:nvGrpSpPr>
        <p:grpSpPr>
          <a:xfrm>
            <a:off x="6610107" y="4631583"/>
            <a:ext cx="2751982" cy="1731729"/>
            <a:chOff x="6610107" y="4631583"/>
            <a:chExt cx="2751982" cy="1731729"/>
          </a:xfrm>
        </p:grpSpPr>
        <p:sp>
          <p:nvSpPr>
            <p:cNvPr id="10" name="Freihandform 9">
              <a:extLst>
                <a:ext uri="{FF2B5EF4-FFF2-40B4-BE49-F238E27FC236}">
                  <a16:creationId xmlns:a16="http://schemas.microsoft.com/office/drawing/2014/main" id="{0B6312F0-0DB6-9E53-CB5A-9691C55DFC86}"/>
                </a:ext>
              </a:extLst>
            </p:cNvPr>
            <p:cNvSpPr/>
            <p:nvPr/>
          </p:nvSpPr>
          <p:spPr>
            <a:xfrm>
              <a:off x="6610107" y="4631583"/>
              <a:ext cx="2751982" cy="1703148"/>
            </a:xfrm>
            <a:custGeom>
              <a:avLst/>
              <a:gdLst>
                <a:gd name="connsiteX0" fmla="*/ 0 w 2751982"/>
                <a:gd name="connsiteY0" fmla="*/ 0 h 1703148"/>
                <a:gd name="connsiteX1" fmla="*/ 2751982 w 2751982"/>
                <a:gd name="connsiteY1" fmla="*/ 0 h 1703148"/>
                <a:gd name="connsiteX2" fmla="*/ 2751982 w 2751982"/>
                <a:gd name="connsiteY2" fmla="*/ 1703149 h 1703148"/>
                <a:gd name="connsiteX3" fmla="*/ 0 w 2751982"/>
                <a:gd name="connsiteY3" fmla="*/ 1703149 h 1703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1982" h="1703148">
                  <a:moveTo>
                    <a:pt x="0" y="0"/>
                  </a:moveTo>
                  <a:lnTo>
                    <a:pt x="2751982" y="0"/>
                  </a:lnTo>
                  <a:lnTo>
                    <a:pt x="2751982" y="1703149"/>
                  </a:lnTo>
                  <a:lnTo>
                    <a:pt x="0" y="1703149"/>
                  </a:lnTo>
                  <a:close/>
                </a:path>
              </a:pathLst>
            </a:custGeom>
            <a:solidFill>
              <a:srgbClr val="3B9B9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 10">
              <a:extLst>
                <a:ext uri="{FF2B5EF4-FFF2-40B4-BE49-F238E27FC236}">
                  <a16:creationId xmlns:a16="http://schemas.microsoft.com/office/drawing/2014/main" id="{E714FB91-ECB1-BAA3-01BC-EDDB814BAB03}"/>
                </a:ext>
              </a:extLst>
            </p:cNvPr>
            <p:cNvSpPr/>
            <p:nvPr/>
          </p:nvSpPr>
          <p:spPr>
            <a:xfrm>
              <a:off x="6610107" y="6325769"/>
              <a:ext cx="2751982" cy="37543"/>
            </a:xfrm>
            <a:custGeom>
              <a:avLst/>
              <a:gdLst>
                <a:gd name="connsiteX0" fmla="*/ 0 w 2751982"/>
                <a:gd name="connsiteY0" fmla="*/ 0 h 37543"/>
                <a:gd name="connsiteX1" fmla="*/ 2751982 w 2751982"/>
                <a:gd name="connsiteY1" fmla="*/ 0 h 37543"/>
                <a:gd name="connsiteX2" fmla="*/ 2751982 w 2751982"/>
                <a:gd name="connsiteY2" fmla="*/ 37543 h 37543"/>
                <a:gd name="connsiteX3" fmla="*/ 0 w 2751982"/>
                <a:gd name="connsiteY3" fmla="*/ 37543 h 3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1982" h="37543">
                  <a:moveTo>
                    <a:pt x="0" y="0"/>
                  </a:moveTo>
                  <a:lnTo>
                    <a:pt x="2751982" y="0"/>
                  </a:lnTo>
                  <a:lnTo>
                    <a:pt x="2751982" y="37543"/>
                  </a:lnTo>
                  <a:lnTo>
                    <a:pt x="0" y="37543"/>
                  </a:lnTo>
                  <a:close/>
                </a:path>
              </a:pathLst>
            </a:custGeom>
            <a:solidFill>
              <a:srgbClr val="0A827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2" name="Grafik 5">
            <a:extLst>
              <a:ext uri="{FF2B5EF4-FFF2-40B4-BE49-F238E27FC236}">
                <a16:creationId xmlns:a16="http://schemas.microsoft.com/office/drawing/2014/main" id="{F1265CED-5F89-684F-9BB9-22763EBB6862}"/>
              </a:ext>
            </a:extLst>
          </p:cNvPr>
          <p:cNvGrpSpPr/>
          <p:nvPr/>
        </p:nvGrpSpPr>
        <p:grpSpPr>
          <a:xfrm>
            <a:off x="9433741" y="4631583"/>
            <a:ext cx="1578827" cy="1731729"/>
            <a:chOff x="9433741" y="4631583"/>
            <a:chExt cx="1578827" cy="1731729"/>
          </a:xfrm>
        </p:grpSpPr>
        <p:sp>
          <p:nvSpPr>
            <p:cNvPr id="13" name="Freihandform 12">
              <a:extLst>
                <a:ext uri="{FF2B5EF4-FFF2-40B4-BE49-F238E27FC236}">
                  <a16:creationId xmlns:a16="http://schemas.microsoft.com/office/drawing/2014/main" id="{D7D4466E-12D9-BAB1-6FB7-CD0A6CF99B72}"/>
                </a:ext>
              </a:extLst>
            </p:cNvPr>
            <p:cNvSpPr/>
            <p:nvPr/>
          </p:nvSpPr>
          <p:spPr>
            <a:xfrm>
              <a:off x="9433741" y="4631583"/>
              <a:ext cx="1578827" cy="1703148"/>
            </a:xfrm>
            <a:custGeom>
              <a:avLst/>
              <a:gdLst>
                <a:gd name="connsiteX0" fmla="*/ 0 w 1578827"/>
                <a:gd name="connsiteY0" fmla="*/ 0 h 1703148"/>
                <a:gd name="connsiteX1" fmla="*/ 1578828 w 1578827"/>
                <a:gd name="connsiteY1" fmla="*/ 0 h 1703148"/>
                <a:gd name="connsiteX2" fmla="*/ 1578828 w 1578827"/>
                <a:gd name="connsiteY2" fmla="*/ 1703149 h 1703148"/>
                <a:gd name="connsiteX3" fmla="*/ 0 w 1578827"/>
                <a:gd name="connsiteY3" fmla="*/ 1703149 h 1703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8827" h="1703148">
                  <a:moveTo>
                    <a:pt x="0" y="0"/>
                  </a:moveTo>
                  <a:lnTo>
                    <a:pt x="1578828" y="0"/>
                  </a:lnTo>
                  <a:lnTo>
                    <a:pt x="1578828" y="1703149"/>
                  </a:lnTo>
                  <a:lnTo>
                    <a:pt x="0" y="1703149"/>
                  </a:lnTo>
                  <a:close/>
                </a:path>
              </a:pathLst>
            </a:custGeom>
            <a:solidFill>
              <a:srgbClr val="6CB4A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 13">
              <a:extLst>
                <a:ext uri="{FF2B5EF4-FFF2-40B4-BE49-F238E27FC236}">
                  <a16:creationId xmlns:a16="http://schemas.microsoft.com/office/drawing/2014/main" id="{6FED0EC6-CE3F-8DCD-AADB-0DD23061C293}"/>
                </a:ext>
              </a:extLst>
            </p:cNvPr>
            <p:cNvSpPr/>
            <p:nvPr/>
          </p:nvSpPr>
          <p:spPr>
            <a:xfrm>
              <a:off x="9433741" y="6325769"/>
              <a:ext cx="1578827" cy="37543"/>
            </a:xfrm>
            <a:custGeom>
              <a:avLst/>
              <a:gdLst>
                <a:gd name="connsiteX0" fmla="*/ 0 w 1578827"/>
                <a:gd name="connsiteY0" fmla="*/ 0 h 37543"/>
                <a:gd name="connsiteX1" fmla="*/ 1578828 w 1578827"/>
                <a:gd name="connsiteY1" fmla="*/ 0 h 37543"/>
                <a:gd name="connsiteX2" fmla="*/ 1578828 w 1578827"/>
                <a:gd name="connsiteY2" fmla="*/ 37543 h 37543"/>
                <a:gd name="connsiteX3" fmla="*/ 0 w 1578827"/>
                <a:gd name="connsiteY3" fmla="*/ 37543 h 3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8827" h="37543">
                  <a:moveTo>
                    <a:pt x="0" y="0"/>
                  </a:moveTo>
                  <a:lnTo>
                    <a:pt x="1578828" y="0"/>
                  </a:lnTo>
                  <a:lnTo>
                    <a:pt x="1578828" y="37543"/>
                  </a:lnTo>
                  <a:lnTo>
                    <a:pt x="0" y="37543"/>
                  </a:lnTo>
                  <a:close/>
                </a:path>
              </a:pathLst>
            </a:custGeom>
            <a:solidFill>
              <a:srgbClr val="3B9B9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" name="Grafik 5">
            <a:extLst>
              <a:ext uri="{FF2B5EF4-FFF2-40B4-BE49-F238E27FC236}">
                <a16:creationId xmlns:a16="http://schemas.microsoft.com/office/drawing/2014/main" id="{79670170-F671-ACD9-4E91-6E5AD0780F00}"/>
              </a:ext>
            </a:extLst>
          </p:cNvPr>
          <p:cNvGrpSpPr/>
          <p:nvPr/>
        </p:nvGrpSpPr>
        <p:grpSpPr>
          <a:xfrm>
            <a:off x="7607039" y="2759439"/>
            <a:ext cx="3403924" cy="1800482"/>
            <a:chOff x="7607039" y="2759439"/>
            <a:chExt cx="3403924" cy="1800482"/>
          </a:xfrm>
        </p:grpSpPr>
        <p:sp>
          <p:nvSpPr>
            <p:cNvPr id="16" name="Freihandform 15">
              <a:extLst>
                <a:ext uri="{FF2B5EF4-FFF2-40B4-BE49-F238E27FC236}">
                  <a16:creationId xmlns:a16="http://schemas.microsoft.com/office/drawing/2014/main" id="{0733C3F3-168D-4674-285F-8124D9EC5CD4}"/>
                </a:ext>
              </a:extLst>
            </p:cNvPr>
            <p:cNvSpPr/>
            <p:nvPr/>
          </p:nvSpPr>
          <p:spPr>
            <a:xfrm>
              <a:off x="7607039" y="2759439"/>
              <a:ext cx="3403924" cy="1771914"/>
            </a:xfrm>
            <a:custGeom>
              <a:avLst/>
              <a:gdLst>
                <a:gd name="connsiteX0" fmla="*/ 0 w 3403924"/>
                <a:gd name="connsiteY0" fmla="*/ 0 h 1771914"/>
                <a:gd name="connsiteX1" fmla="*/ 3403925 w 3403924"/>
                <a:gd name="connsiteY1" fmla="*/ 0 h 1771914"/>
                <a:gd name="connsiteX2" fmla="*/ 3403925 w 3403924"/>
                <a:gd name="connsiteY2" fmla="*/ 1771915 h 1771914"/>
                <a:gd name="connsiteX3" fmla="*/ 0 w 3403924"/>
                <a:gd name="connsiteY3" fmla="*/ 1771915 h 1771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3924" h="1771914">
                  <a:moveTo>
                    <a:pt x="0" y="0"/>
                  </a:moveTo>
                  <a:lnTo>
                    <a:pt x="3403925" y="0"/>
                  </a:lnTo>
                  <a:lnTo>
                    <a:pt x="3403925" y="1771915"/>
                  </a:lnTo>
                  <a:lnTo>
                    <a:pt x="0" y="1771915"/>
                  </a:lnTo>
                  <a:close/>
                </a:path>
              </a:pathLst>
            </a:custGeom>
            <a:solidFill>
              <a:srgbClr val="B8DED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 16">
              <a:extLst>
                <a:ext uri="{FF2B5EF4-FFF2-40B4-BE49-F238E27FC236}">
                  <a16:creationId xmlns:a16="http://schemas.microsoft.com/office/drawing/2014/main" id="{B7BD9181-F8C3-DB2E-6D4E-3D5C7FB9D2ED}"/>
                </a:ext>
              </a:extLst>
            </p:cNvPr>
            <p:cNvSpPr/>
            <p:nvPr/>
          </p:nvSpPr>
          <p:spPr>
            <a:xfrm>
              <a:off x="7607039" y="4522379"/>
              <a:ext cx="3403924" cy="37543"/>
            </a:xfrm>
            <a:custGeom>
              <a:avLst/>
              <a:gdLst>
                <a:gd name="connsiteX0" fmla="*/ 0 w 3403924"/>
                <a:gd name="connsiteY0" fmla="*/ 0 h 37543"/>
                <a:gd name="connsiteX1" fmla="*/ 3403925 w 3403924"/>
                <a:gd name="connsiteY1" fmla="*/ 0 h 37543"/>
                <a:gd name="connsiteX2" fmla="*/ 3403925 w 3403924"/>
                <a:gd name="connsiteY2" fmla="*/ 37543 h 37543"/>
                <a:gd name="connsiteX3" fmla="*/ 0 w 3403924"/>
                <a:gd name="connsiteY3" fmla="*/ 37543 h 3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3924" h="37543">
                  <a:moveTo>
                    <a:pt x="0" y="0"/>
                  </a:moveTo>
                  <a:lnTo>
                    <a:pt x="3403925" y="0"/>
                  </a:lnTo>
                  <a:lnTo>
                    <a:pt x="3403925" y="37543"/>
                  </a:lnTo>
                  <a:lnTo>
                    <a:pt x="0" y="37543"/>
                  </a:lnTo>
                  <a:close/>
                </a:path>
              </a:pathLst>
            </a:custGeom>
            <a:solidFill>
              <a:srgbClr val="6CB4A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8" name="Grafik 5">
            <a:extLst>
              <a:ext uri="{FF2B5EF4-FFF2-40B4-BE49-F238E27FC236}">
                <a16:creationId xmlns:a16="http://schemas.microsoft.com/office/drawing/2014/main" id="{847520F3-52F8-A07C-E17D-0F8150618065}"/>
              </a:ext>
            </a:extLst>
          </p:cNvPr>
          <p:cNvGrpSpPr/>
          <p:nvPr/>
        </p:nvGrpSpPr>
        <p:grpSpPr>
          <a:xfrm>
            <a:off x="8231938" y="1275129"/>
            <a:ext cx="2318546" cy="1412649"/>
            <a:chOff x="8231938" y="1275129"/>
            <a:chExt cx="2318546" cy="1412649"/>
          </a:xfrm>
        </p:grpSpPr>
        <p:sp>
          <p:nvSpPr>
            <p:cNvPr id="19" name="Freihandform 18">
              <a:extLst>
                <a:ext uri="{FF2B5EF4-FFF2-40B4-BE49-F238E27FC236}">
                  <a16:creationId xmlns:a16="http://schemas.microsoft.com/office/drawing/2014/main" id="{A78EF482-8A75-4EF6-4EDF-2265A044561C}"/>
                </a:ext>
              </a:extLst>
            </p:cNvPr>
            <p:cNvSpPr/>
            <p:nvPr/>
          </p:nvSpPr>
          <p:spPr>
            <a:xfrm>
              <a:off x="8231938" y="1275129"/>
              <a:ext cx="2318546" cy="1376762"/>
            </a:xfrm>
            <a:custGeom>
              <a:avLst/>
              <a:gdLst>
                <a:gd name="connsiteX0" fmla="*/ 0 w 2318546"/>
                <a:gd name="connsiteY0" fmla="*/ 0 h 1376762"/>
                <a:gd name="connsiteX1" fmla="*/ 2318547 w 2318546"/>
                <a:gd name="connsiteY1" fmla="*/ 0 h 1376762"/>
                <a:gd name="connsiteX2" fmla="*/ 2318547 w 2318546"/>
                <a:gd name="connsiteY2" fmla="*/ 1376762 h 1376762"/>
                <a:gd name="connsiteX3" fmla="*/ 0 w 2318546"/>
                <a:gd name="connsiteY3" fmla="*/ 1376762 h 137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8546" h="1376762">
                  <a:moveTo>
                    <a:pt x="0" y="0"/>
                  </a:moveTo>
                  <a:lnTo>
                    <a:pt x="2318547" y="0"/>
                  </a:lnTo>
                  <a:lnTo>
                    <a:pt x="2318547" y="1376762"/>
                  </a:lnTo>
                  <a:lnTo>
                    <a:pt x="0" y="1376762"/>
                  </a:lnTo>
                  <a:close/>
                </a:path>
              </a:pathLst>
            </a:custGeom>
            <a:solidFill>
              <a:srgbClr val="B9D25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 19">
              <a:extLst>
                <a:ext uri="{FF2B5EF4-FFF2-40B4-BE49-F238E27FC236}">
                  <a16:creationId xmlns:a16="http://schemas.microsoft.com/office/drawing/2014/main" id="{C2F10324-6617-AB14-0A3E-657212069A17}"/>
                </a:ext>
              </a:extLst>
            </p:cNvPr>
            <p:cNvSpPr/>
            <p:nvPr/>
          </p:nvSpPr>
          <p:spPr>
            <a:xfrm>
              <a:off x="8231938" y="2650235"/>
              <a:ext cx="2318546" cy="37543"/>
            </a:xfrm>
            <a:custGeom>
              <a:avLst/>
              <a:gdLst>
                <a:gd name="connsiteX0" fmla="*/ 0 w 2318546"/>
                <a:gd name="connsiteY0" fmla="*/ 0 h 37543"/>
                <a:gd name="connsiteX1" fmla="*/ 2318547 w 2318546"/>
                <a:gd name="connsiteY1" fmla="*/ 0 h 37543"/>
                <a:gd name="connsiteX2" fmla="*/ 2318547 w 2318546"/>
                <a:gd name="connsiteY2" fmla="*/ 37543 h 37543"/>
                <a:gd name="connsiteX3" fmla="*/ 0 w 2318546"/>
                <a:gd name="connsiteY3" fmla="*/ 37543 h 3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8546" h="37543">
                  <a:moveTo>
                    <a:pt x="0" y="0"/>
                  </a:moveTo>
                  <a:lnTo>
                    <a:pt x="2318547" y="0"/>
                  </a:lnTo>
                  <a:lnTo>
                    <a:pt x="2318547" y="37543"/>
                  </a:lnTo>
                  <a:lnTo>
                    <a:pt x="0" y="37543"/>
                  </a:lnTo>
                  <a:close/>
                </a:path>
              </a:pathLst>
            </a:custGeom>
            <a:solidFill>
              <a:srgbClr val="9BBA4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1" name="Grafik 5">
            <a:extLst>
              <a:ext uri="{FF2B5EF4-FFF2-40B4-BE49-F238E27FC236}">
                <a16:creationId xmlns:a16="http://schemas.microsoft.com/office/drawing/2014/main" id="{A9FA391D-A73C-33BC-C6DA-529C047093DC}"/>
              </a:ext>
            </a:extLst>
          </p:cNvPr>
          <p:cNvGrpSpPr/>
          <p:nvPr/>
        </p:nvGrpSpPr>
        <p:grpSpPr>
          <a:xfrm>
            <a:off x="6610107" y="1754797"/>
            <a:ext cx="4400869" cy="4488603"/>
            <a:chOff x="6610107" y="1754797"/>
            <a:chExt cx="4400869" cy="4488603"/>
          </a:xfrm>
        </p:grpSpPr>
        <p:sp>
          <p:nvSpPr>
            <p:cNvPr id="22" name="Freihandform 21">
              <a:extLst>
                <a:ext uri="{FF2B5EF4-FFF2-40B4-BE49-F238E27FC236}">
                  <a16:creationId xmlns:a16="http://schemas.microsoft.com/office/drawing/2014/main" id="{BE91228C-F1EC-63B3-8A5E-6015293349D3}"/>
                </a:ext>
              </a:extLst>
            </p:cNvPr>
            <p:cNvSpPr/>
            <p:nvPr/>
          </p:nvSpPr>
          <p:spPr>
            <a:xfrm>
              <a:off x="8304588" y="2551358"/>
              <a:ext cx="2178111" cy="12640"/>
            </a:xfrm>
            <a:custGeom>
              <a:avLst/>
              <a:gdLst>
                <a:gd name="connsiteX0" fmla="*/ 0 w 2178111"/>
                <a:gd name="connsiteY0" fmla="*/ 0 h 12640"/>
                <a:gd name="connsiteX1" fmla="*/ 2178112 w 2178111"/>
                <a:gd name="connsiteY1" fmla="*/ 0 h 1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78111" h="12640">
                  <a:moveTo>
                    <a:pt x="0" y="0"/>
                  </a:moveTo>
                  <a:lnTo>
                    <a:pt x="2178112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 22">
              <a:extLst>
                <a:ext uri="{FF2B5EF4-FFF2-40B4-BE49-F238E27FC236}">
                  <a16:creationId xmlns:a16="http://schemas.microsoft.com/office/drawing/2014/main" id="{1DEE97EB-8C2F-FE49-42A2-0D9CBB8E3E7D}"/>
                </a:ext>
              </a:extLst>
            </p:cNvPr>
            <p:cNvSpPr/>
            <p:nvPr/>
          </p:nvSpPr>
          <p:spPr>
            <a:xfrm>
              <a:off x="10164159" y="1754797"/>
              <a:ext cx="12636" cy="796561"/>
            </a:xfrm>
            <a:custGeom>
              <a:avLst/>
              <a:gdLst>
                <a:gd name="connsiteX0" fmla="*/ 0 w 12636"/>
                <a:gd name="connsiteY0" fmla="*/ 0 h 796561"/>
                <a:gd name="connsiteX1" fmla="*/ 0 w 12636"/>
                <a:gd name="connsiteY1" fmla="*/ 796561 h 796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796561">
                  <a:moveTo>
                    <a:pt x="0" y="0"/>
                  </a:moveTo>
                  <a:lnTo>
                    <a:pt x="0" y="796561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 23">
              <a:extLst>
                <a:ext uri="{FF2B5EF4-FFF2-40B4-BE49-F238E27FC236}">
                  <a16:creationId xmlns:a16="http://schemas.microsoft.com/office/drawing/2014/main" id="{A4DECD73-61E0-C5E8-D8EE-36104A5EB758}"/>
                </a:ext>
              </a:extLst>
            </p:cNvPr>
            <p:cNvSpPr/>
            <p:nvPr/>
          </p:nvSpPr>
          <p:spPr>
            <a:xfrm>
              <a:off x="9856891" y="4559922"/>
              <a:ext cx="12636" cy="595142"/>
            </a:xfrm>
            <a:custGeom>
              <a:avLst/>
              <a:gdLst>
                <a:gd name="connsiteX0" fmla="*/ 0 w 12636"/>
                <a:gd name="connsiteY0" fmla="*/ 0 h 595142"/>
                <a:gd name="connsiteX1" fmla="*/ 0 w 12636"/>
                <a:gd name="connsiteY1" fmla="*/ 595143 h 595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595142">
                  <a:moveTo>
                    <a:pt x="0" y="0"/>
                  </a:moveTo>
                  <a:lnTo>
                    <a:pt x="0" y="595143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 24">
              <a:extLst>
                <a:ext uri="{FF2B5EF4-FFF2-40B4-BE49-F238E27FC236}">
                  <a16:creationId xmlns:a16="http://schemas.microsoft.com/office/drawing/2014/main" id="{C66CDDC9-62CA-3A73-D6A0-1A20DA15B17B}"/>
                </a:ext>
              </a:extLst>
            </p:cNvPr>
            <p:cNvSpPr/>
            <p:nvPr/>
          </p:nvSpPr>
          <p:spPr>
            <a:xfrm>
              <a:off x="9391218" y="2687778"/>
              <a:ext cx="12636" cy="1142869"/>
            </a:xfrm>
            <a:custGeom>
              <a:avLst/>
              <a:gdLst>
                <a:gd name="connsiteX0" fmla="*/ 0 w 12636"/>
                <a:gd name="connsiteY0" fmla="*/ 0 h 1142869"/>
                <a:gd name="connsiteX1" fmla="*/ 0 w 12636"/>
                <a:gd name="connsiteY1" fmla="*/ 1142869 h 1142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1142869">
                  <a:moveTo>
                    <a:pt x="0" y="0"/>
                  </a:moveTo>
                  <a:lnTo>
                    <a:pt x="0" y="1142869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 25">
              <a:extLst>
                <a:ext uri="{FF2B5EF4-FFF2-40B4-BE49-F238E27FC236}">
                  <a16:creationId xmlns:a16="http://schemas.microsoft.com/office/drawing/2014/main" id="{3BE30AB7-34D9-6C39-2A03-63B4714EAF9F}"/>
                </a:ext>
              </a:extLst>
            </p:cNvPr>
            <p:cNvSpPr/>
            <p:nvPr/>
          </p:nvSpPr>
          <p:spPr>
            <a:xfrm>
              <a:off x="9391218" y="1754797"/>
              <a:ext cx="12636" cy="796561"/>
            </a:xfrm>
            <a:custGeom>
              <a:avLst/>
              <a:gdLst>
                <a:gd name="connsiteX0" fmla="*/ 0 w 12636"/>
                <a:gd name="connsiteY0" fmla="*/ 0 h 796561"/>
                <a:gd name="connsiteX1" fmla="*/ 0 w 12636"/>
                <a:gd name="connsiteY1" fmla="*/ 796561 h 796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796561">
                  <a:moveTo>
                    <a:pt x="0" y="0"/>
                  </a:moveTo>
                  <a:lnTo>
                    <a:pt x="0" y="796561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 26">
              <a:extLst>
                <a:ext uri="{FF2B5EF4-FFF2-40B4-BE49-F238E27FC236}">
                  <a16:creationId xmlns:a16="http://schemas.microsoft.com/office/drawing/2014/main" id="{FA3FB8E2-A9AA-30FB-79B5-BF8A2EFC022F}"/>
                </a:ext>
              </a:extLst>
            </p:cNvPr>
            <p:cNvSpPr/>
            <p:nvPr/>
          </p:nvSpPr>
          <p:spPr>
            <a:xfrm>
              <a:off x="8618289" y="1754797"/>
              <a:ext cx="12636" cy="796561"/>
            </a:xfrm>
            <a:custGeom>
              <a:avLst/>
              <a:gdLst>
                <a:gd name="connsiteX0" fmla="*/ 0 w 12636"/>
                <a:gd name="connsiteY0" fmla="*/ 0 h 796561"/>
                <a:gd name="connsiteX1" fmla="*/ 0 w 12636"/>
                <a:gd name="connsiteY1" fmla="*/ 796561 h 796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796561">
                  <a:moveTo>
                    <a:pt x="0" y="0"/>
                  </a:moveTo>
                  <a:lnTo>
                    <a:pt x="0" y="796561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 27">
              <a:extLst>
                <a:ext uri="{FF2B5EF4-FFF2-40B4-BE49-F238E27FC236}">
                  <a16:creationId xmlns:a16="http://schemas.microsoft.com/office/drawing/2014/main" id="{E17DD1A8-314C-C003-A36E-F6ED1154713C}"/>
                </a:ext>
              </a:extLst>
            </p:cNvPr>
            <p:cNvSpPr/>
            <p:nvPr/>
          </p:nvSpPr>
          <p:spPr>
            <a:xfrm>
              <a:off x="7607039" y="3830648"/>
              <a:ext cx="3403937" cy="12640"/>
            </a:xfrm>
            <a:custGeom>
              <a:avLst/>
              <a:gdLst>
                <a:gd name="connsiteX0" fmla="*/ 0 w 3403937"/>
                <a:gd name="connsiteY0" fmla="*/ 0 h 12640"/>
                <a:gd name="connsiteX1" fmla="*/ 3403938 w 3403937"/>
                <a:gd name="connsiteY1" fmla="*/ 0 h 1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3937" h="12640">
                  <a:moveTo>
                    <a:pt x="0" y="0"/>
                  </a:moveTo>
                  <a:lnTo>
                    <a:pt x="3403938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 28">
              <a:extLst>
                <a:ext uri="{FF2B5EF4-FFF2-40B4-BE49-F238E27FC236}">
                  <a16:creationId xmlns:a16="http://schemas.microsoft.com/office/drawing/2014/main" id="{F8C2B27F-EC26-39C5-8CAB-4B073F6C4A9F}"/>
                </a:ext>
              </a:extLst>
            </p:cNvPr>
            <p:cNvSpPr/>
            <p:nvPr/>
          </p:nvSpPr>
          <p:spPr>
            <a:xfrm>
              <a:off x="8154701" y="3359954"/>
              <a:ext cx="12636" cy="470693"/>
            </a:xfrm>
            <a:custGeom>
              <a:avLst/>
              <a:gdLst>
                <a:gd name="connsiteX0" fmla="*/ 0 w 12636"/>
                <a:gd name="connsiteY0" fmla="*/ 0 h 470693"/>
                <a:gd name="connsiteX1" fmla="*/ 0 w 12636"/>
                <a:gd name="connsiteY1" fmla="*/ 470694 h 470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470693">
                  <a:moveTo>
                    <a:pt x="0" y="0"/>
                  </a:moveTo>
                  <a:lnTo>
                    <a:pt x="0" y="470694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 29">
              <a:extLst>
                <a:ext uri="{FF2B5EF4-FFF2-40B4-BE49-F238E27FC236}">
                  <a16:creationId xmlns:a16="http://schemas.microsoft.com/office/drawing/2014/main" id="{4F9F516D-91C1-D29A-5E4D-1EB7C51F8D8A}"/>
                </a:ext>
              </a:extLst>
            </p:cNvPr>
            <p:cNvSpPr/>
            <p:nvPr/>
          </p:nvSpPr>
          <p:spPr>
            <a:xfrm>
              <a:off x="8836643" y="3359954"/>
              <a:ext cx="12636" cy="470693"/>
            </a:xfrm>
            <a:custGeom>
              <a:avLst/>
              <a:gdLst>
                <a:gd name="connsiteX0" fmla="*/ 0 w 12636"/>
                <a:gd name="connsiteY0" fmla="*/ 470694 h 470693"/>
                <a:gd name="connsiteX1" fmla="*/ 0 w 12636"/>
                <a:gd name="connsiteY1" fmla="*/ 0 h 470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470693">
                  <a:moveTo>
                    <a:pt x="0" y="470694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 30">
              <a:extLst>
                <a:ext uri="{FF2B5EF4-FFF2-40B4-BE49-F238E27FC236}">
                  <a16:creationId xmlns:a16="http://schemas.microsoft.com/office/drawing/2014/main" id="{31A735C4-8934-626A-7093-6D8C39B63B6B}"/>
                </a:ext>
              </a:extLst>
            </p:cNvPr>
            <p:cNvSpPr/>
            <p:nvPr/>
          </p:nvSpPr>
          <p:spPr>
            <a:xfrm>
              <a:off x="9950556" y="3359954"/>
              <a:ext cx="12636" cy="470693"/>
            </a:xfrm>
            <a:custGeom>
              <a:avLst/>
              <a:gdLst>
                <a:gd name="connsiteX0" fmla="*/ 0 w 12636"/>
                <a:gd name="connsiteY0" fmla="*/ 470694 h 470693"/>
                <a:gd name="connsiteX1" fmla="*/ 0 w 12636"/>
                <a:gd name="connsiteY1" fmla="*/ 0 h 470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470693">
                  <a:moveTo>
                    <a:pt x="0" y="470694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 31">
              <a:extLst>
                <a:ext uri="{FF2B5EF4-FFF2-40B4-BE49-F238E27FC236}">
                  <a16:creationId xmlns:a16="http://schemas.microsoft.com/office/drawing/2014/main" id="{4D1AE38E-C1B0-D194-DD77-511C8535CF5B}"/>
                </a:ext>
              </a:extLst>
            </p:cNvPr>
            <p:cNvSpPr/>
            <p:nvPr/>
          </p:nvSpPr>
          <p:spPr>
            <a:xfrm>
              <a:off x="10677246" y="3359954"/>
              <a:ext cx="12636" cy="470693"/>
            </a:xfrm>
            <a:custGeom>
              <a:avLst/>
              <a:gdLst>
                <a:gd name="connsiteX0" fmla="*/ 0 w 12636"/>
                <a:gd name="connsiteY0" fmla="*/ 470694 h 470693"/>
                <a:gd name="connsiteX1" fmla="*/ 0 w 12636"/>
                <a:gd name="connsiteY1" fmla="*/ 0 h 470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470693">
                  <a:moveTo>
                    <a:pt x="0" y="470694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 32">
              <a:extLst>
                <a:ext uri="{FF2B5EF4-FFF2-40B4-BE49-F238E27FC236}">
                  <a16:creationId xmlns:a16="http://schemas.microsoft.com/office/drawing/2014/main" id="{112438B5-46EA-864A-1241-84901D7D4DCF}"/>
                </a:ext>
              </a:extLst>
            </p:cNvPr>
            <p:cNvSpPr/>
            <p:nvPr/>
          </p:nvSpPr>
          <p:spPr>
            <a:xfrm>
              <a:off x="6989558" y="5148162"/>
              <a:ext cx="12636" cy="89914"/>
            </a:xfrm>
            <a:custGeom>
              <a:avLst/>
              <a:gdLst>
                <a:gd name="connsiteX0" fmla="*/ 0 w 12636"/>
                <a:gd name="connsiteY0" fmla="*/ 89914 h 89914"/>
                <a:gd name="connsiteX1" fmla="*/ 0 w 12636"/>
                <a:gd name="connsiteY1" fmla="*/ 0 h 8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89914">
                  <a:moveTo>
                    <a:pt x="0" y="89914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 33">
              <a:extLst>
                <a:ext uri="{FF2B5EF4-FFF2-40B4-BE49-F238E27FC236}">
                  <a16:creationId xmlns:a16="http://schemas.microsoft.com/office/drawing/2014/main" id="{518C5CF0-D4A6-9DF4-7334-769619EA7861}"/>
                </a:ext>
              </a:extLst>
            </p:cNvPr>
            <p:cNvSpPr/>
            <p:nvPr/>
          </p:nvSpPr>
          <p:spPr>
            <a:xfrm>
              <a:off x="6610107" y="5238077"/>
              <a:ext cx="3242879" cy="12640"/>
            </a:xfrm>
            <a:custGeom>
              <a:avLst/>
              <a:gdLst>
                <a:gd name="connsiteX0" fmla="*/ 3242879 w 3242879"/>
                <a:gd name="connsiteY0" fmla="*/ 0 h 12640"/>
                <a:gd name="connsiteX1" fmla="*/ 0 w 3242879"/>
                <a:gd name="connsiteY1" fmla="*/ 0 h 1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42879" h="12640">
                  <a:moveTo>
                    <a:pt x="3242879" y="0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 34">
              <a:extLst>
                <a:ext uri="{FF2B5EF4-FFF2-40B4-BE49-F238E27FC236}">
                  <a16:creationId xmlns:a16="http://schemas.microsoft.com/office/drawing/2014/main" id="{16E23120-1BC0-E6F8-4C33-E496EFB1BE5E}"/>
                </a:ext>
              </a:extLst>
            </p:cNvPr>
            <p:cNvSpPr/>
            <p:nvPr/>
          </p:nvSpPr>
          <p:spPr>
            <a:xfrm>
              <a:off x="8253661" y="5065668"/>
              <a:ext cx="12636" cy="1100927"/>
            </a:xfrm>
            <a:custGeom>
              <a:avLst/>
              <a:gdLst>
                <a:gd name="connsiteX0" fmla="*/ 0 w 12636"/>
                <a:gd name="connsiteY0" fmla="*/ 0 h 1100927"/>
                <a:gd name="connsiteX1" fmla="*/ 0 w 12636"/>
                <a:gd name="connsiteY1" fmla="*/ 1100927 h 1100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1100927">
                  <a:moveTo>
                    <a:pt x="0" y="0"/>
                  </a:moveTo>
                  <a:lnTo>
                    <a:pt x="0" y="1100927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 35">
              <a:extLst>
                <a:ext uri="{FF2B5EF4-FFF2-40B4-BE49-F238E27FC236}">
                  <a16:creationId xmlns:a16="http://schemas.microsoft.com/office/drawing/2014/main" id="{24C30128-DE05-BABE-24D0-AE15DE9B563B}"/>
                </a:ext>
              </a:extLst>
            </p:cNvPr>
            <p:cNvSpPr/>
            <p:nvPr/>
          </p:nvSpPr>
          <p:spPr>
            <a:xfrm>
              <a:off x="9856916" y="5155064"/>
              <a:ext cx="12636" cy="1088336"/>
            </a:xfrm>
            <a:custGeom>
              <a:avLst/>
              <a:gdLst>
                <a:gd name="connsiteX0" fmla="*/ 0 w 12636"/>
                <a:gd name="connsiteY0" fmla="*/ 1088337 h 1088336"/>
                <a:gd name="connsiteX1" fmla="*/ 0 w 12636"/>
                <a:gd name="connsiteY1" fmla="*/ 0 h 1088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1088336">
                  <a:moveTo>
                    <a:pt x="0" y="1088337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 36">
              <a:extLst>
                <a:ext uri="{FF2B5EF4-FFF2-40B4-BE49-F238E27FC236}">
                  <a16:creationId xmlns:a16="http://schemas.microsoft.com/office/drawing/2014/main" id="{E0094A26-D70D-FAA6-982D-674362BF4D08}"/>
                </a:ext>
              </a:extLst>
            </p:cNvPr>
            <p:cNvSpPr/>
            <p:nvPr/>
          </p:nvSpPr>
          <p:spPr>
            <a:xfrm>
              <a:off x="7664007" y="5148162"/>
              <a:ext cx="12636" cy="89914"/>
            </a:xfrm>
            <a:custGeom>
              <a:avLst/>
              <a:gdLst>
                <a:gd name="connsiteX0" fmla="*/ 0 w 12636"/>
                <a:gd name="connsiteY0" fmla="*/ 89914 h 89914"/>
                <a:gd name="connsiteX1" fmla="*/ 0 w 12636"/>
                <a:gd name="connsiteY1" fmla="*/ 0 h 8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89914">
                  <a:moveTo>
                    <a:pt x="0" y="89914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 37">
              <a:extLst>
                <a:ext uri="{FF2B5EF4-FFF2-40B4-BE49-F238E27FC236}">
                  <a16:creationId xmlns:a16="http://schemas.microsoft.com/office/drawing/2014/main" id="{1BE2F283-267F-9D90-89E0-4ED3A05AE375}"/>
                </a:ext>
              </a:extLst>
            </p:cNvPr>
            <p:cNvSpPr/>
            <p:nvPr/>
          </p:nvSpPr>
          <p:spPr>
            <a:xfrm>
              <a:off x="9022761" y="5148162"/>
              <a:ext cx="12636" cy="89914"/>
            </a:xfrm>
            <a:custGeom>
              <a:avLst/>
              <a:gdLst>
                <a:gd name="connsiteX0" fmla="*/ 0 w 12636"/>
                <a:gd name="connsiteY0" fmla="*/ 89914 h 89914"/>
                <a:gd name="connsiteX1" fmla="*/ 0 w 12636"/>
                <a:gd name="connsiteY1" fmla="*/ 0 h 8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89914">
                  <a:moveTo>
                    <a:pt x="0" y="89914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 38">
              <a:extLst>
                <a:ext uri="{FF2B5EF4-FFF2-40B4-BE49-F238E27FC236}">
                  <a16:creationId xmlns:a16="http://schemas.microsoft.com/office/drawing/2014/main" id="{81AF5E39-9CED-DA57-3EDC-1E1CBD32E768}"/>
                </a:ext>
              </a:extLst>
            </p:cNvPr>
            <p:cNvSpPr/>
            <p:nvPr/>
          </p:nvSpPr>
          <p:spPr>
            <a:xfrm>
              <a:off x="7993453" y="3830648"/>
              <a:ext cx="12636" cy="627300"/>
            </a:xfrm>
            <a:custGeom>
              <a:avLst/>
              <a:gdLst>
                <a:gd name="connsiteX0" fmla="*/ 0 w 12636"/>
                <a:gd name="connsiteY0" fmla="*/ 627301 h 627300"/>
                <a:gd name="connsiteX1" fmla="*/ 0 w 12636"/>
                <a:gd name="connsiteY1" fmla="*/ 0 h 627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627300">
                  <a:moveTo>
                    <a:pt x="0" y="627301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 39">
              <a:extLst>
                <a:ext uri="{FF2B5EF4-FFF2-40B4-BE49-F238E27FC236}">
                  <a16:creationId xmlns:a16="http://schemas.microsoft.com/office/drawing/2014/main" id="{C08E6FEC-0244-27C8-5F3A-441AAACAEB6E}"/>
                </a:ext>
              </a:extLst>
            </p:cNvPr>
            <p:cNvSpPr/>
            <p:nvPr/>
          </p:nvSpPr>
          <p:spPr>
            <a:xfrm>
              <a:off x="9124274" y="3830648"/>
              <a:ext cx="12636" cy="627300"/>
            </a:xfrm>
            <a:custGeom>
              <a:avLst/>
              <a:gdLst>
                <a:gd name="connsiteX0" fmla="*/ 0 w 12636"/>
                <a:gd name="connsiteY0" fmla="*/ 627301 h 627300"/>
                <a:gd name="connsiteX1" fmla="*/ 0 w 12636"/>
                <a:gd name="connsiteY1" fmla="*/ 0 h 627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627300">
                  <a:moveTo>
                    <a:pt x="0" y="627301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 40">
              <a:extLst>
                <a:ext uri="{FF2B5EF4-FFF2-40B4-BE49-F238E27FC236}">
                  <a16:creationId xmlns:a16="http://schemas.microsoft.com/office/drawing/2014/main" id="{ED94E40F-9B3C-BF43-9A0B-9A5C66F9A4FE}"/>
                </a:ext>
              </a:extLst>
            </p:cNvPr>
            <p:cNvSpPr/>
            <p:nvPr/>
          </p:nvSpPr>
          <p:spPr>
            <a:xfrm>
              <a:off x="10057212" y="3830648"/>
              <a:ext cx="12636" cy="627300"/>
            </a:xfrm>
            <a:custGeom>
              <a:avLst/>
              <a:gdLst>
                <a:gd name="connsiteX0" fmla="*/ 0 w 12636"/>
                <a:gd name="connsiteY0" fmla="*/ 627301 h 627300"/>
                <a:gd name="connsiteX1" fmla="*/ 0 w 12636"/>
                <a:gd name="connsiteY1" fmla="*/ 0 h 627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627300">
                  <a:moveTo>
                    <a:pt x="0" y="627301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 41">
              <a:extLst>
                <a:ext uri="{FF2B5EF4-FFF2-40B4-BE49-F238E27FC236}">
                  <a16:creationId xmlns:a16="http://schemas.microsoft.com/office/drawing/2014/main" id="{993954E9-B947-5628-2E3F-631DE2268D0F}"/>
                </a:ext>
              </a:extLst>
            </p:cNvPr>
            <p:cNvSpPr/>
            <p:nvPr/>
          </p:nvSpPr>
          <p:spPr>
            <a:xfrm>
              <a:off x="10600666" y="3830648"/>
              <a:ext cx="12636" cy="627300"/>
            </a:xfrm>
            <a:custGeom>
              <a:avLst/>
              <a:gdLst>
                <a:gd name="connsiteX0" fmla="*/ 0 w 12636"/>
                <a:gd name="connsiteY0" fmla="*/ 627301 h 627300"/>
                <a:gd name="connsiteX1" fmla="*/ 0 w 12636"/>
                <a:gd name="connsiteY1" fmla="*/ 0 h 627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36" h="627300">
                  <a:moveTo>
                    <a:pt x="0" y="627301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1D1D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4" name="Grafik 5">
            <a:extLst>
              <a:ext uri="{FF2B5EF4-FFF2-40B4-BE49-F238E27FC236}">
                <a16:creationId xmlns:a16="http://schemas.microsoft.com/office/drawing/2014/main" id="{3BB7CE58-A25B-F6D4-1265-5EAD1933A489}"/>
              </a:ext>
            </a:extLst>
          </p:cNvPr>
          <p:cNvGrpSpPr/>
          <p:nvPr/>
        </p:nvGrpSpPr>
        <p:grpSpPr>
          <a:xfrm>
            <a:off x="6741001" y="4807429"/>
            <a:ext cx="500867" cy="391663"/>
            <a:chOff x="6741001" y="4807429"/>
            <a:chExt cx="500867" cy="391663"/>
          </a:xfrm>
        </p:grpSpPr>
        <p:sp>
          <p:nvSpPr>
            <p:cNvPr id="45" name="Freihandform 44">
              <a:extLst>
                <a:ext uri="{FF2B5EF4-FFF2-40B4-BE49-F238E27FC236}">
                  <a16:creationId xmlns:a16="http://schemas.microsoft.com/office/drawing/2014/main" id="{2D9BDE36-2332-63C5-5249-38AAA5036E54}"/>
                </a:ext>
              </a:extLst>
            </p:cNvPr>
            <p:cNvSpPr/>
            <p:nvPr/>
          </p:nvSpPr>
          <p:spPr>
            <a:xfrm>
              <a:off x="6759539" y="5171295"/>
              <a:ext cx="463803" cy="27797"/>
            </a:xfrm>
            <a:custGeom>
              <a:avLst/>
              <a:gdLst>
                <a:gd name="connsiteX0" fmla="*/ 418487 w 463803"/>
                <a:gd name="connsiteY0" fmla="*/ 0 h 27797"/>
                <a:gd name="connsiteX1" fmla="*/ 45304 w 463803"/>
                <a:gd name="connsiteY1" fmla="*/ 0 h 27797"/>
                <a:gd name="connsiteX2" fmla="*/ 19828 w 463803"/>
                <a:gd name="connsiteY2" fmla="*/ 6573 h 27797"/>
                <a:gd name="connsiteX3" fmla="*/ 3336 w 463803"/>
                <a:gd name="connsiteY3" fmla="*/ 15700 h 27797"/>
                <a:gd name="connsiteX4" fmla="*/ 6458 w 463803"/>
                <a:gd name="connsiteY4" fmla="*/ 27797 h 27797"/>
                <a:gd name="connsiteX5" fmla="*/ 457346 w 463803"/>
                <a:gd name="connsiteY5" fmla="*/ 27797 h 27797"/>
                <a:gd name="connsiteX6" fmla="*/ 460467 w 463803"/>
                <a:gd name="connsiteY6" fmla="*/ 15700 h 27797"/>
                <a:gd name="connsiteX7" fmla="*/ 443976 w 463803"/>
                <a:gd name="connsiteY7" fmla="*/ 6573 h 27797"/>
                <a:gd name="connsiteX8" fmla="*/ 418500 w 463803"/>
                <a:gd name="connsiteY8" fmla="*/ 0 h 2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3803" h="27797">
                  <a:moveTo>
                    <a:pt x="418487" y="0"/>
                  </a:moveTo>
                  <a:lnTo>
                    <a:pt x="45304" y="0"/>
                  </a:lnTo>
                  <a:cubicBezTo>
                    <a:pt x="36395" y="0"/>
                    <a:pt x="27625" y="2263"/>
                    <a:pt x="19828" y="6573"/>
                  </a:cubicBezTo>
                  <a:lnTo>
                    <a:pt x="3336" y="15700"/>
                  </a:lnTo>
                  <a:cubicBezTo>
                    <a:pt x="-2489" y="18923"/>
                    <a:pt x="-202" y="27797"/>
                    <a:pt x="6458" y="27797"/>
                  </a:cubicBezTo>
                  <a:lnTo>
                    <a:pt x="457346" y="27797"/>
                  </a:lnTo>
                  <a:cubicBezTo>
                    <a:pt x="464005" y="27797"/>
                    <a:pt x="466293" y="18923"/>
                    <a:pt x="460467" y="15700"/>
                  </a:cubicBezTo>
                  <a:lnTo>
                    <a:pt x="443976" y="6573"/>
                  </a:lnTo>
                  <a:cubicBezTo>
                    <a:pt x="436179" y="2263"/>
                    <a:pt x="427408" y="0"/>
                    <a:pt x="418500" y="0"/>
                  </a:cubicBezTo>
                  <a:close/>
                </a:path>
              </a:pathLst>
            </a:custGeom>
            <a:solidFill>
              <a:srgbClr val="0A827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6" name="Grafik 5">
              <a:extLst>
                <a:ext uri="{FF2B5EF4-FFF2-40B4-BE49-F238E27FC236}">
                  <a16:creationId xmlns:a16="http://schemas.microsoft.com/office/drawing/2014/main" id="{E8CCCF1F-84B2-DCF5-EF32-6F2A1A509114}"/>
                </a:ext>
              </a:extLst>
            </p:cNvPr>
            <p:cNvGrpSpPr/>
            <p:nvPr/>
          </p:nvGrpSpPr>
          <p:grpSpPr>
            <a:xfrm>
              <a:off x="6741001" y="4807429"/>
              <a:ext cx="500867" cy="380868"/>
              <a:chOff x="6741001" y="4807429"/>
              <a:chExt cx="500867" cy="380868"/>
            </a:xfrm>
          </p:grpSpPr>
          <p:grpSp>
            <p:nvGrpSpPr>
              <p:cNvPr id="47" name="Grafik 5">
                <a:extLst>
                  <a:ext uri="{FF2B5EF4-FFF2-40B4-BE49-F238E27FC236}">
                    <a16:creationId xmlns:a16="http://schemas.microsoft.com/office/drawing/2014/main" id="{E31AC197-F49C-2A0E-2028-1EDAE3386BD3}"/>
                  </a:ext>
                </a:extLst>
              </p:cNvPr>
              <p:cNvGrpSpPr/>
              <p:nvPr/>
            </p:nvGrpSpPr>
            <p:grpSpPr>
              <a:xfrm>
                <a:off x="6741001" y="4807429"/>
                <a:ext cx="500867" cy="380868"/>
                <a:chOff x="6741001" y="4807429"/>
                <a:chExt cx="500867" cy="380868"/>
              </a:xfrm>
            </p:grpSpPr>
            <p:sp>
              <p:nvSpPr>
                <p:cNvPr id="48" name="Freihandform 47">
                  <a:extLst>
                    <a:ext uri="{FF2B5EF4-FFF2-40B4-BE49-F238E27FC236}">
                      <a16:creationId xmlns:a16="http://schemas.microsoft.com/office/drawing/2014/main" id="{91504C1F-3296-3410-466E-09E2C75B92A8}"/>
                    </a:ext>
                  </a:extLst>
                </p:cNvPr>
                <p:cNvSpPr/>
                <p:nvPr/>
              </p:nvSpPr>
              <p:spPr>
                <a:xfrm>
                  <a:off x="6956424" y="5085477"/>
                  <a:ext cx="70021" cy="99622"/>
                </a:xfrm>
                <a:custGeom>
                  <a:avLst/>
                  <a:gdLst>
                    <a:gd name="connsiteX0" fmla="*/ 0 w 70021"/>
                    <a:gd name="connsiteY0" fmla="*/ 0 h 99622"/>
                    <a:gd name="connsiteX1" fmla="*/ 70022 w 70021"/>
                    <a:gd name="connsiteY1" fmla="*/ 0 h 99622"/>
                    <a:gd name="connsiteX2" fmla="*/ 70022 w 70021"/>
                    <a:gd name="connsiteY2" fmla="*/ 99623 h 99622"/>
                    <a:gd name="connsiteX3" fmla="*/ 0 w 70021"/>
                    <a:gd name="connsiteY3" fmla="*/ 99623 h 996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21" h="99622">
                      <a:moveTo>
                        <a:pt x="0" y="0"/>
                      </a:moveTo>
                      <a:lnTo>
                        <a:pt x="70022" y="0"/>
                      </a:lnTo>
                      <a:lnTo>
                        <a:pt x="70022" y="99623"/>
                      </a:lnTo>
                      <a:lnTo>
                        <a:pt x="0" y="99623"/>
                      </a:ln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" name="Freihandform 48">
                  <a:extLst>
                    <a:ext uri="{FF2B5EF4-FFF2-40B4-BE49-F238E27FC236}">
                      <a16:creationId xmlns:a16="http://schemas.microsoft.com/office/drawing/2014/main" id="{2E7D0722-D938-8C86-EA4C-D175471AC675}"/>
                    </a:ext>
                  </a:extLst>
                </p:cNvPr>
                <p:cNvSpPr/>
                <p:nvPr/>
              </p:nvSpPr>
              <p:spPr>
                <a:xfrm>
                  <a:off x="6918007" y="5177489"/>
                  <a:ext cx="146854" cy="10808"/>
                </a:xfrm>
                <a:custGeom>
                  <a:avLst/>
                  <a:gdLst>
                    <a:gd name="connsiteX0" fmla="*/ 4676 w 146854"/>
                    <a:gd name="connsiteY0" fmla="*/ 0 h 10808"/>
                    <a:gd name="connsiteX1" fmla="*/ 142166 w 146854"/>
                    <a:gd name="connsiteY1" fmla="*/ 0 h 10808"/>
                    <a:gd name="connsiteX2" fmla="*/ 146854 w 146854"/>
                    <a:gd name="connsiteY2" fmla="*/ 4690 h 10808"/>
                    <a:gd name="connsiteX3" fmla="*/ 146854 w 146854"/>
                    <a:gd name="connsiteY3" fmla="*/ 10808 h 10808"/>
                    <a:gd name="connsiteX4" fmla="*/ 0 w 146854"/>
                    <a:gd name="connsiteY4" fmla="*/ 10808 h 10808"/>
                    <a:gd name="connsiteX5" fmla="*/ 0 w 146854"/>
                    <a:gd name="connsiteY5" fmla="*/ 4690 h 10808"/>
                    <a:gd name="connsiteX6" fmla="*/ 4688 w 146854"/>
                    <a:gd name="connsiteY6" fmla="*/ 0 h 10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6854" h="10808">
                      <a:moveTo>
                        <a:pt x="4676" y="0"/>
                      </a:moveTo>
                      <a:lnTo>
                        <a:pt x="142166" y="0"/>
                      </a:lnTo>
                      <a:cubicBezTo>
                        <a:pt x="144757" y="0"/>
                        <a:pt x="146854" y="2099"/>
                        <a:pt x="146854" y="4690"/>
                      </a:cubicBezTo>
                      <a:lnTo>
                        <a:pt x="146854" y="10808"/>
                      </a:lnTo>
                      <a:lnTo>
                        <a:pt x="0" y="10808"/>
                      </a:lnTo>
                      <a:lnTo>
                        <a:pt x="0" y="4690"/>
                      </a:lnTo>
                      <a:cubicBezTo>
                        <a:pt x="0" y="2099"/>
                        <a:pt x="2098" y="0"/>
                        <a:pt x="4688" y="0"/>
                      </a:cubicBez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Freihandform 49">
                  <a:extLst>
                    <a:ext uri="{FF2B5EF4-FFF2-40B4-BE49-F238E27FC236}">
                      <a16:creationId xmlns:a16="http://schemas.microsoft.com/office/drawing/2014/main" id="{45BE1307-316C-BB94-3A32-203AFE37B676}"/>
                    </a:ext>
                  </a:extLst>
                </p:cNvPr>
                <p:cNvSpPr/>
                <p:nvPr/>
              </p:nvSpPr>
              <p:spPr>
                <a:xfrm>
                  <a:off x="6741001" y="4807429"/>
                  <a:ext cx="500867" cy="285884"/>
                </a:xfrm>
                <a:custGeom>
                  <a:avLst/>
                  <a:gdLst>
                    <a:gd name="connsiteX0" fmla="*/ 494006 w 500867"/>
                    <a:gd name="connsiteY0" fmla="*/ 0 h 285884"/>
                    <a:gd name="connsiteX1" fmla="*/ 500868 w 500867"/>
                    <a:gd name="connsiteY1" fmla="*/ 6864 h 285884"/>
                    <a:gd name="connsiteX2" fmla="*/ 500868 w 500867"/>
                    <a:gd name="connsiteY2" fmla="*/ 279021 h 285884"/>
                    <a:gd name="connsiteX3" fmla="*/ 494006 w 500867"/>
                    <a:gd name="connsiteY3" fmla="*/ 285885 h 285884"/>
                    <a:gd name="connsiteX4" fmla="*/ 6862 w 500867"/>
                    <a:gd name="connsiteY4" fmla="*/ 285885 h 285884"/>
                    <a:gd name="connsiteX5" fmla="*/ 0 w 500867"/>
                    <a:gd name="connsiteY5" fmla="*/ 279021 h 285884"/>
                    <a:gd name="connsiteX6" fmla="*/ 0 w 500867"/>
                    <a:gd name="connsiteY6" fmla="*/ 6864 h 285884"/>
                    <a:gd name="connsiteX7" fmla="*/ 6862 w 500867"/>
                    <a:gd name="connsiteY7" fmla="*/ 0 h 285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0867" h="285884">
                      <a:moveTo>
                        <a:pt x="494006" y="0"/>
                      </a:moveTo>
                      <a:cubicBezTo>
                        <a:pt x="497795" y="0"/>
                        <a:pt x="500868" y="3073"/>
                        <a:pt x="500868" y="6864"/>
                      </a:cubicBezTo>
                      <a:lnTo>
                        <a:pt x="500868" y="279021"/>
                      </a:lnTo>
                      <a:cubicBezTo>
                        <a:pt x="500868" y="282812"/>
                        <a:pt x="497796" y="285885"/>
                        <a:pt x="494006" y="285885"/>
                      </a:cubicBezTo>
                      <a:lnTo>
                        <a:pt x="6862" y="285885"/>
                      </a:lnTo>
                      <a:cubicBezTo>
                        <a:pt x="3072" y="285885"/>
                        <a:pt x="0" y="282812"/>
                        <a:pt x="0" y="279021"/>
                      </a:cubicBezTo>
                      <a:lnTo>
                        <a:pt x="0" y="6864"/>
                      </a:lnTo>
                      <a:cubicBezTo>
                        <a:pt x="0" y="3073"/>
                        <a:pt x="3072" y="0"/>
                        <a:pt x="6862" y="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" name="Freihandform 50">
                  <a:extLst>
                    <a:ext uri="{FF2B5EF4-FFF2-40B4-BE49-F238E27FC236}">
                      <a16:creationId xmlns:a16="http://schemas.microsoft.com/office/drawing/2014/main" id="{5A06409C-9AC5-D0C8-EB00-49B4C4ECFD29}"/>
                    </a:ext>
                  </a:extLst>
                </p:cNvPr>
                <p:cNvSpPr/>
                <p:nvPr/>
              </p:nvSpPr>
              <p:spPr>
                <a:xfrm rot="5400000">
                  <a:off x="6867927" y="4703749"/>
                  <a:ext cx="246989" cy="477734"/>
                </a:xfrm>
                <a:custGeom>
                  <a:avLst/>
                  <a:gdLst>
                    <a:gd name="connsiteX0" fmla="*/ 0 w 246989"/>
                    <a:gd name="connsiteY0" fmla="*/ 0 h 477734"/>
                    <a:gd name="connsiteX1" fmla="*/ 246990 w 246989"/>
                    <a:gd name="connsiteY1" fmla="*/ 0 h 477734"/>
                    <a:gd name="connsiteX2" fmla="*/ 246990 w 246989"/>
                    <a:gd name="connsiteY2" fmla="*/ 477735 h 477734"/>
                    <a:gd name="connsiteX3" fmla="*/ 0 w 246989"/>
                    <a:gd name="connsiteY3" fmla="*/ 477735 h 477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6989" h="477734">
                      <a:moveTo>
                        <a:pt x="0" y="0"/>
                      </a:moveTo>
                      <a:lnTo>
                        <a:pt x="246990" y="0"/>
                      </a:lnTo>
                      <a:lnTo>
                        <a:pt x="246990" y="477735"/>
                      </a:lnTo>
                      <a:lnTo>
                        <a:pt x="0" y="477735"/>
                      </a:lnTo>
                      <a:close/>
                    </a:path>
                  </a:pathLst>
                </a:custGeom>
                <a:solidFill>
                  <a:srgbClr val="06534B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" name="Freihandform 51">
                  <a:extLst>
                    <a:ext uri="{FF2B5EF4-FFF2-40B4-BE49-F238E27FC236}">
                      <a16:creationId xmlns:a16="http://schemas.microsoft.com/office/drawing/2014/main" id="{8B7878E0-A001-E2C2-8758-2937D749C4BC}"/>
                    </a:ext>
                  </a:extLst>
                </p:cNvPr>
                <p:cNvSpPr/>
                <p:nvPr/>
              </p:nvSpPr>
              <p:spPr>
                <a:xfrm>
                  <a:off x="6956424" y="5093314"/>
                  <a:ext cx="70021" cy="10390"/>
                </a:xfrm>
                <a:custGeom>
                  <a:avLst/>
                  <a:gdLst>
                    <a:gd name="connsiteX0" fmla="*/ 0 w 70021"/>
                    <a:gd name="connsiteY0" fmla="*/ 0 h 10390"/>
                    <a:gd name="connsiteX1" fmla="*/ 70022 w 70021"/>
                    <a:gd name="connsiteY1" fmla="*/ 0 h 10390"/>
                    <a:gd name="connsiteX2" fmla="*/ 70022 w 70021"/>
                    <a:gd name="connsiteY2" fmla="*/ 10391 h 10390"/>
                    <a:gd name="connsiteX3" fmla="*/ 0 w 70021"/>
                    <a:gd name="connsiteY3" fmla="*/ 10391 h 10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21" h="10390">
                      <a:moveTo>
                        <a:pt x="0" y="0"/>
                      </a:moveTo>
                      <a:lnTo>
                        <a:pt x="70022" y="0"/>
                      </a:lnTo>
                      <a:lnTo>
                        <a:pt x="70022" y="10391"/>
                      </a:lnTo>
                      <a:lnTo>
                        <a:pt x="0" y="10391"/>
                      </a:ln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3" name="Freihandform 52">
                <a:extLst>
                  <a:ext uri="{FF2B5EF4-FFF2-40B4-BE49-F238E27FC236}">
                    <a16:creationId xmlns:a16="http://schemas.microsoft.com/office/drawing/2014/main" id="{97B9DBFE-4B88-9838-4A45-D9F84EB763E1}"/>
                  </a:ext>
                </a:extLst>
              </p:cNvPr>
              <p:cNvSpPr/>
              <p:nvPr/>
            </p:nvSpPr>
            <p:spPr>
              <a:xfrm>
                <a:off x="6752640" y="4819084"/>
                <a:ext cx="370087" cy="247065"/>
              </a:xfrm>
              <a:custGeom>
                <a:avLst/>
                <a:gdLst>
                  <a:gd name="connsiteX0" fmla="*/ 173165 w 370087"/>
                  <a:gd name="connsiteY0" fmla="*/ 247065 h 247065"/>
                  <a:gd name="connsiteX1" fmla="*/ 0 w 370087"/>
                  <a:gd name="connsiteY1" fmla="*/ 247065 h 247065"/>
                  <a:gd name="connsiteX2" fmla="*/ 0 w 370087"/>
                  <a:gd name="connsiteY2" fmla="*/ 0 h 247065"/>
                  <a:gd name="connsiteX3" fmla="*/ 370087 w 370087"/>
                  <a:gd name="connsiteY3" fmla="*/ 0 h 247065"/>
                  <a:gd name="connsiteX4" fmla="*/ 173165 w 370087"/>
                  <a:gd name="connsiteY4" fmla="*/ 247065 h 247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0087" h="247065">
                    <a:moveTo>
                      <a:pt x="173165" y="247065"/>
                    </a:moveTo>
                    <a:lnTo>
                      <a:pt x="0" y="247065"/>
                    </a:lnTo>
                    <a:lnTo>
                      <a:pt x="0" y="0"/>
                    </a:lnTo>
                    <a:lnTo>
                      <a:pt x="370087" y="0"/>
                    </a:lnTo>
                    <a:lnTo>
                      <a:pt x="173165" y="247065"/>
                    </a:ln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4" name="Grafik 5">
            <a:extLst>
              <a:ext uri="{FF2B5EF4-FFF2-40B4-BE49-F238E27FC236}">
                <a16:creationId xmlns:a16="http://schemas.microsoft.com/office/drawing/2014/main" id="{95260E38-E128-0485-ABFE-8058D767154F}"/>
              </a:ext>
            </a:extLst>
          </p:cNvPr>
          <p:cNvGrpSpPr/>
          <p:nvPr/>
        </p:nvGrpSpPr>
        <p:grpSpPr>
          <a:xfrm>
            <a:off x="7904295" y="3487184"/>
            <a:ext cx="500783" cy="285556"/>
            <a:chOff x="7904295" y="3487184"/>
            <a:chExt cx="500783" cy="285556"/>
          </a:xfrm>
        </p:grpSpPr>
        <p:sp>
          <p:nvSpPr>
            <p:cNvPr id="55" name="Freihandform 54">
              <a:extLst>
                <a:ext uri="{FF2B5EF4-FFF2-40B4-BE49-F238E27FC236}">
                  <a16:creationId xmlns:a16="http://schemas.microsoft.com/office/drawing/2014/main" id="{C70C6B5A-6E68-6A15-A560-71430D147169}"/>
                </a:ext>
              </a:extLst>
            </p:cNvPr>
            <p:cNvSpPr/>
            <p:nvPr/>
          </p:nvSpPr>
          <p:spPr>
            <a:xfrm>
              <a:off x="7904295" y="3742731"/>
              <a:ext cx="500783" cy="30009"/>
            </a:xfrm>
            <a:custGeom>
              <a:avLst/>
              <a:gdLst>
                <a:gd name="connsiteX0" fmla="*/ 451865 w 500783"/>
                <a:gd name="connsiteY0" fmla="*/ 0 h 30009"/>
                <a:gd name="connsiteX1" fmla="*/ 48935 w 500783"/>
                <a:gd name="connsiteY1" fmla="*/ 0 h 30009"/>
                <a:gd name="connsiteX2" fmla="*/ 21424 w 500783"/>
                <a:gd name="connsiteY2" fmla="*/ 7104 h 30009"/>
                <a:gd name="connsiteX3" fmla="*/ 3606 w 500783"/>
                <a:gd name="connsiteY3" fmla="*/ 16951 h 30009"/>
                <a:gd name="connsiteX4" fmla="*/ 6980 w 500783"/>
                <a:gd name="connsiteY4" fmla="*/ 30009 h 30009"/>
                <a:gd name="connsiteX5" fmla="*/ 493808 w 500783"/>
                <a:gd name="connsiteY5" fmla="*/ 30009 h 30009"/>
                <a:gd name="connsiteX6" fmla="*/ 497181 w 500783"/>
                <a:gd name="connsiteY6" fmla="*/ 16951 h 30009"/>
                <a:gd name="connsiteX7" fmla="*/ 479364 w 500783"/>
                <a:gd name="connsiteY7" fmla="*/ 7104 h 30009"/>
                <a:gd name="connsiteX8" fmla="*/ 451853 w 500783"/>
                <a:gd name="connsiteY8" fmla="*/ 0 h 3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783" h="30009">
                  <a:moveTo>
                    <a:pt x="451865" y="0"/>
                  </a:moveTo>
                  <a:lnTo>
                    <a:pt x="48935" y="0"/>
                  </a:lnTo>
                  <a:cubicBezTo>
                    <a:pt x="39318" y="0"/>
                    <a:pt x="29853" y="2440"/>
                    <a:pt x="21424" y="7104"/>
                  </a:cubicBezTo>
                  <a:lnTo>
                    <a:pt x="3606" y="16951"/>
                  </a:lnTo>
                  <a:cubicBezTo>
                    <a:pt x="-2687" y="20428"/>
                    <a:pt x="-223" y="30009"/>
                    <a:pt x="6980" y="30009"/>
                  </a:cubicBezTo>
                  <a:lnTo>
                    <a:pt x="493808" y="30009"/>
                  </a:lnTo>
                  <a:cubicBezTo>
                    <a:pt x="500998" y="30009"/>
                    <a:pt x="503474" y="20428"/>
                    <a:pt x="497181" y="16951"/>
                  </a:cubicBezTo>
                  <a:lnTo>
                    <a:pt x="479364" y="7104"/>
                  </a:lnTo>
                  <a:cubicBezTo>
                    <a:pt x="470947" y="2452"/>
                    <a:pt x="461482" y="0"/>
                    <a:pt x="451853" y="0"/>
                  </a:cubicBezTo>
                  <a:close/>
                </a:path>
              </a:pathLst>
            </a:custGeom>
            <a:solidFill>
              <a:srgbClr val="6CB4A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6" name="Grafik 5">
              <a:extLst>
                <a:ext uri="{FF2B5EF4-FFF2-40B4-BE49-F238E27FC236}">
                  <a16:creationId xmlns:a16="http://schemas.microsoft.com/office/drawing/2014/main" id="{B3542CFC-C6F9-4B47-1045-B25939954112}"/>
                </a:ext>
              </a:extLst>
            </p:cNvPr>
            <p:cNvGrpSpPr/>
            <p:nvPr/>
          </p:nvGrpSpPr>
          <p:grpSpPr>
            <a:xfrm>
              <a:off x="7948566" y="3487184"/>
              <a:ext cx="412256" cy="274760"/>
              <a:chOff x="7948566" y="3487184"/>
              <a:chExt cx="412256" cy="274760"/>
            </a:xfrm>
          </p:grpSpPr>
          <p:sp>
            <p:nvSpPr>
              <p:cNvPr id="57" name="Freihandform 56">
                <a:extLst>
                  <a:ext uri="{FF2B5EF4-FFF2-40B4-BE49-F238E27FC236}">
                    <a16:creationId xmlns:a16="http://schemas.microsoft.com/office/drawing/2014/main" id="{6ACF991F-F646-2A26-18F4-844154403729}"/>
                  </a:ext>
                </a:extLst>
              </p:cNvPr>
              <p:cNvSpPr/>
              <p:nvPr/>
            </p:nvSpPr>
            <p:spPr>
              <a:xfrm>
                <a:off x="7961570" y="3543777"/>
                <a:ext cx="386249" cy="218167"/>
              </a:xfrm>
              <a:custGeom>
                <a:avLst/>
                <a:gdLst>
                  <a:gd name="connsiteX0" fmla="*/ 0 w 386249"/>
                  <a:gd name="connsiteY0" fmla="*/ 0 h 218167"/>
                  <a:gd name="connsiteX1" fmla="*/ 386250 w 386249"/>
                  <a:gd name="connsiteY1" fmla="*/ 0 h 218167"/>
                  <a:gd name="connsiteX2" fmla="*/ 386250 w 386249"/>
                  <a:gd name="connsiteY2" fmla="*/ 218168 h 218167"/>
                  <a:gd name="connsiteX3" fmla="*/ 0 w 386249"/>
                  <a:gd name="connsiteY3" fmla="*/ 218168 h 218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249" h="218167">
                    <a:moveTo>
                      <a:pt x="0" y="0"/>
                    </a:moveTo>
                    <a:lnTo>
                      <a:pt x="386250" y="0"/>
                    </a:lnTo>
                    <a:lnTo>
                      <a:pt x="386250" y="218168"/>
                    </a:lnTo>
                    <a:lnTo>
                      <a:pt x="0" y="218168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 57">
                <a:extLst>
                  <a:ext uri="{FF2B5EF4-FFF2-40B4-BE49-F238E27FC236}">
                    <a16:creationId xmlns:a16="http://schemas.microsoft.com/office/drawing/2014/main" id="{88D686C0-08FA-0F00-72CF-D9D789EED2CC}"/>
                  </a:ext>
                </a:extLst>
              </p:cNvPr>
              <p:cNvSpPr/>
              <p:nvPr/>
            </p:nvSpPr>
            <p:spPr>
              <a:xfrm>
                <a:off x="7948566" y="3487184"/>
                <a:ext cx="412256" cy="81798"/>
              </a:xfrm>
              <a:custGeom>
                <a:avLst/>
                <a:gdLst>
                  <a:gd name="connsiteX0" fmla="*/ 402413 w 412256"/>
                  <a:gd name="connsiteY0" fmla="*/ 0 h 81798"/>
                  <a:gd name="connsiteX1" fmla="*/ 412257 w 412256"/>
                  <a:gd name="connsiteY1" fmla="*/ 9847 h 81798"/>
                  <a:gd name="connsiteX2" fmla="*/ 412257 w 412256"/>
                  <a:gd name="connsiteY2" fmla="*/ 71952 h 81798"/>
                  <a:gd name="connsiteX3" fmla="*/ 402413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3" y="0"/>
                    </a:moveTo>
                    <a:cubicBezTo>
                      <a:pt x="407849" y="0"/>
                      <a:pt x="412257" y="4409"/>
                      <a:pt x="412257" y="9847"/>
                    </a:cubicBezTo>
                    <a:lnTo>
                      <a:pt x="412257" y="71952"/>
                    </a:lnTo>
                    <a:cubicBezTo>
                      <a:pt x="412257" y="77390"/>
                      <a:pt x="407849" y="81799"/>
                      <a:pt x="402413" y="81799"/>
                    </a:cubicBezTo>
                    <a:lnTo>
                      <a:pt x="9844" y="81799"/>
                    </a:lnTo>
                    <a:cubicBezTo>
                      <a:pt x="4408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8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 58">
                <a:extLst>
                  <a:ext uri="{FF2B5EF4-FFF2-40B4-BE49-F238E27FC236}">
                    <a16:creationId xmlns:a16="http://schemas.microsoft.com/office/drawing/2014/main" id="{2C064882-B82F-DD74-CC4C-DC070E52A827}"/>
                  </a:ext>
                </a:extLst>
              </p:cNvPr>
              <p:cNvSpPr/>
              <p:nvPr/>
            </p:nvSpPr>
            <p:spPr>
              <a:xfrm>
                <a:off x="7948566" y="3583658"/>
                <a:ext cx="412256" cy="81798"/>
              </a:xfrm>
              <a:custGeom>
                <a:avLst/>
                <a:gdLst>
                  <a:gd name="connsiteX0" fmla="*/ 402413 w 412256"/>
                  <a:gd name="connsiteY0" fmla="*/ 0 h 81798"/>
                  <a:gd name="connsiteX1" fmla="*/ 412257 w 412256"/>
                  <a:gd name="connsiteY1" fmla="*/ 9847 h 81798"/>
                  <a:gd name="connsiteX2" fmla="*/ 412257 w 412256"/>
                  <a:gd name="connsiteY2" fmla="*/ 71952 h 81798"/>
                  <a:gd name="connsiteX3" fmla="*/ 402413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3" y="0"/>
                    </a:moveTo>
                    <a:cubicBezTo>
                      <a:pt x="407849" y="0"/>
                      <a:pt x="412257" y="4409"/>
                      <a:pt x="412257" y="9847"/>
                    </a:cubicBezTo>
                    <a:lnTo>
                      <a:pt x="412257" y="71952"/>
                    </a:lnTo>
                    <a:cubicBezTo>
                      <a:pt x="412257" y="77390"/>
                      <a:pt x="407849" y="81799"/>
                      <a:pt x="402413" y="81799"/>
                    </a:cubicBezTo>
                    <a:lnTo>
                      <a:pt x="9844" y="81799"/>
                    </a:lnTo>
                    <a:cubicBezTo>
                      <a:pt x="4408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8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" name="Freihandform 59">
                <a:extLst>
                  <a:ext uri="{FF2B5EF4-FFF2-40B4-BE49-F238E27FC236}">
                    <a16:creationId xmlns:a16="http://schemas.microsoft.com/office/drawing/2014/main" id="{250A3187-97ED-6A6C-1E90-EAD8E6A13DBB}"/>
                  </a:ext>
                </a:extLst>
              </p:cNvPr>
              <p:cNvSpPr/>
              <p:nvPr/>
            </p:nvSpPr>
            <p:spPr>
              <a:xfrm>
                <a:off x="7948566" y="3680146"/>
                <a:ext cx="412256" cy="81798"/>
              </a:xfrm>
              <a:custGeom>
                <a:avLst/>
                <a:gdLst>
                  <a:gd name="connsiteX0" fmla="*/ 402413 w 412256"/>
                  <a:gd name="connsiteY0" fmla="*/ 0 h 81798"/>
                  <a:gd name="connsiteX1" fmla="*/ 412257 w 412256"/>
                  <a:gd name="connsiteY1" fmla="*/ 9847 h 81798"/>
                  <a:gd name="connsiteX2" fmla="*/ 412257 w 412256"/>
                  <a:gd name="connsiteY2" fmla="*/ 71952 h 81798"/>
                  <a:gd name="connsiteX3" fmla="*/ 402413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3" y="0"/>
                    </a:moveTo>
                    <a:cubicBezTo>
                      <a:pt x="407849" y="0"/>
                      <a:pt x="412257" y="4409"/>
                      <a:pt x="412257" y="9847"/>
                    </a:cubicBezTo>
                    <a:lnTo>
                      <a:pt x="412257" y="71952"/>
                    </a:lnTo>
                    <a:cubicBezTo>
                      <a:pt x="412257" y="77390"/>
                      <a:pt x="407849" y="81799"/>
                      <a:pt x="402413" y="81799"/>
                    </a:cubicBezTo>
                    <a:lnTo>
                      <a:pt x="9844" y="81799"/>
                    </a:lnTo>
                    <a:cubicBezTo>
                      <a:pt x="4408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8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1" name="Grafik 5">
                <a:extLst>
                  <a:ext uri="{FF2B5EF4-FFF2-40B4-BE49-F238E27FC236}">
                    <a16:creationId xmlns:a16="http://schemas.microsoft.com/office/drawing/2014/main" id="{95A0396C-89A9-477D-466F-CE390EFB7D82}"/>
                  </a:ext>
                </a:extLst>
              </p:cNvPr>
              <p:cNvGrpSpPr/>
              <p:nvPr/>
            </p:nvGrpSpPr>
            <p:grpSpPr>
              <a:xfrm>
                <a:off x="8234820" y="3487184"/>
                <a:ext cx="126003" cy="274748"/>
                <a:chOff x="8234820" y="3487184"/>
                <a:chExt cx="126003" cy="274748"/>
              </a:xfrm>
              <a:solidFill>
                <a:srgbClr val="08665C"/>
              </a:solidFill>
            </p:grpSpPr>
            <p:sp>
              <p:nvSpPr>
                <p:cNvPr id="62" name="Freihandform 61">
                  <a:extLst>
                    <a:ext uri="{FF2B5EF4-FFF2-40B4-BE49-F238E27FC236}">
                      <a16:creationId xmlns:a16="http://schemas.microsoft.com/office/drawing/2014/main" id="{78023E26-A236-6874-99F4-E9ED654B6EF4}"/>
                    </a:ext>
                  </a:extLst>
                </p:cNvPr>
                <p:cNvSpPr/>
                <p:nvPr/>
              </p:nvSpPr>
              <p:spPr>
                <a:xfrm>
                  <a:off x="8234820" y="3487184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Freihandform 62">
                  <a:extLst>
                    <a:ext uri="{FF2B5EF4-FFF2-40B4-BE49-F238E27FC236}">
                      <a16:creationId xmlns:a16="http://schemas.microsoft.com/office/drawing/2014/main" id="{48A3FE15-AAF9-716A-4BD6-29E095008A48}"/>
                    </a:ext>
                  </a:extLst>
                </p:cNvPr>
                <p:cNvSpPr/>
                <p:nvPr/>
              </p:nvSpPr>
              <p:spPr>
                <a:xfrm>
                  <a:off x="8234820" y="3583658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Freihandform 63">
                  <a:extLst>
                    <a:ext uri="{FF2B5EF4-FFF2-40B4-BE49-F238E27FC236}">
                      <a16:creationId xmlns:a16="http://schemas.microsoft.com/office/drawing/2014/main" id="{455CA6AD-DC65-020A-2134-E61B98B8C0E7}"/>
                    </a:ext>
                  </a:extLst>
                </p:cNvPr>
                <p:cNvSpPr/>
                <p:nvPr/>
              </p:nvSpPr>
              <p:spPr>
                <a:xfrm>
                  <a:off x="8234820" y="3680133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5" name="Grafik 5">
                <a:extLst>
                  <a:ext uri="{FF2B5EF4-FFF2-40B4-BE49-F238E27FC236}">
                    <a16:creationId xmlns:a16="http://schemas.microsoft.com/office/drawing/2014/main" id="{D2BDE695-C281-4744-AA1C-BDD79590679A}"/>
                  </a:ext>
                </a:extLst>
              </p:cNvPr>
              <p:cNvGrpSpPr/>
              <p:nvPr/>
            </p:nvGrpSpPr>
            <p:grpSpPr>
              <a:xfrm>
                <a:off x="7965980" y="3713429"/>
                <a:ext cx="377441" cy="15219"/>
                <a:chOff x="7965980" y="3713429"/>
                <a:chExt cx="377441" cy="15219"/>
              </a:xfrm>
            </p:grpSpPr>
            <p:grpSp>
              <p:nvGrpSpPr>
                <p:cNvPr id="66" name="Grafik 5">
                  <a:extLst>
                    <a:ext uri="{FF2B5EF4-FFF2-40B4-BE49-F238E27FC236}">
                      <a16:creationId xmlns:a16="http://schemas.microsoft.com/office/drawing/2014/main" id="{AF8C6641-6200-6E18-BD89-86C005F46AEE}"/>
                    </a:ext>
                  </a:extLst>
                </p:cNvPr>
                <p:cNvGrpSpPr/>
                <p:nvPr/>
              </p:nvGrpSpPr>
              <p:grpSpPr>
                <a:xfrm>
                  <a:off x="7965980" y="3714440"/>
                  <a:ext cx="99111" cy="13197"/>
                  <a:chOff x="7965980" y="3714440"/>
                  <a:chExt cx="99111" cy="13197"/>
                </a:xfrm>
                <a:solidFill>
                  <a:srgbClr val="FFFFFF"/>
                </a:solidFill>
              </p:grpSpPr>
              <p:sp>
                <p:nvSpPr>
                  <p:cNvPr id="67" name="Freihandform 66">
                    <a:extLst>
                      <a:ext uri="{FF2B5EF4-FFF2-40B4-BE49-F238E27FC236}">
                        <a16:creationId xmlns:a16="http://schemas.microsoft.com/office/drawing/2014/main" id="{C018E93A-2EA4-D662-B37B-A6DABF2D66CF}"/>
                      </a:ext>
                    </a:extLst>
                  </p:cNvPr>
                  <p:cNvSpPr/>
                  <p:nvPr/>
                </p:nvSpPr>
                <p:spPr>
                  <a:xfrm>
                    <a:off x="7965980" y="371444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Freihandform 67">
                    <a:extLst>
                      <a:ext uri="{FF2B5EF4-FFF2-40B4-BE49-F238E27FC236}">
                        <a16:creationId xmlns:a16="http://schemas.microsoft.com/office/drawing/2014/main" id="{14676330-D403-ACCA-D12D-DFEA78859B5A}"/>
                      </a:ext>
                    </a:extLst>
                  </p:cNvPr>
                  <p:cNvSpPr/>
                  <p:nvPr/>
                </p:nvSpPr>
                <p:spPr>
                  <a:xfrm>
                    <a:off x="7994616" y="371444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" name="Freihandform 68">
                    <a:extLst>
                      <a:ext uri="{FF2B5EF4-FFF2-40B4-BE49-F238E27FC236}">
                        <a16:creationId xmlns:a16="http://schemas.microsoft.com/office/drawing/2014/main" id="{74DB6C5B-E7EB-F40B-CA31-D4CC9EDB65D7}"/>
                      </a:ext>
                    </a:extLst>
                  </p:cNvPr>
                  <p:cNvSpPr/>
                  <p:nvPr/>
                </p:nvSpPr>
                <p:spPr>
                  <a:xfrm>
                    <a:off x="8023264" y="371444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Freihandform 69">
                    <a:extLst>
                      <a:ext uri="{FF2B5EF4-FFF2-40B4-BE49-F238E27FC236}">
                        <a16:creationId xmlns:a16="http://schemas.microsoft.com/office/drawing/2014/main" id="{10F9A508-BB1A-86FF-15BC-2E43C7E15B92}"/>
                      </a:ext>
                    </a:extLst>
                  </p:cNvPr>
                  <p:cNvSpPr/>
                  <p:nvPr/>
                </p:nvSpPr>
                <p:spPr>
                  <a:xfrm>
                    <a:off x="8051899" y="371444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1" name="Freihandform 70">
                  <a:extLst>
                    <a:ext uri="{FF2B5EF4-FFF2-40B4-BE49-F238E27FC236}">
                      <a16:creationId xmlns:a16="http://schemas.microsoft.com/office/drawing/2014/main" id="{FFD1232E-26F5-CAFF-6ED0-FE86C2D6C395}"/>
                    </a:ext>
                  </a:extLst>
                </p:cNvPr>
                <p:cNvSpPr/>
                <p:nvPr/>
              </p:nvSpPr>
              <p:spPr>
                <a:xfrm>
                  <a:off x="8299028" y="3713429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7" y="15220"/>
                      </a:cubicBezTo>
                      <a:cubicBezTo>
                        <a:pt x="3406" y="15220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Freihandform 71">
                  <a:extLst>
                    <a:ext uri="{FF2B5EF4-FFF2-40B4-BE49-F238E27FC236}">
                      <a16:creationId xmlns:a16="http://schemas.microsoft.com/office/drawing/2014/main" id="{79018100-A2C3-FA1B-E990-8FA4F6C54D35}"/>
                    </a:ext>
                  </a:extLst>
                </p:cNvPr>
                <p:cNvSpPr/>
                <p:nvPr/>
              </p:nvSpPr>
              <p:spPr>
                <a:xfrm>
                  <a:off x="8328207" y="3713429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8" y="15220"/>
                      </a:cubicBezTo>
                      <a:cubicBezTo>
                        <a:pt x="3406" y="15220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3" name="Grafik 5">
                <a:extLst>
                  <a:ext uri="{FF2B5EF4-FFF2-40B4-BE49-F238E27FC236}">
                    <a16:creationId xmlns:a16="http://schemas.microsoft.com/office/drawing/2014/main" id="{8DD40EBA-F636-2948-AE08-79CDD0E4BAFB}"/>
                  </a:ext>
                </a:extLst>
              </p:cNvPr>
              <p:cNvGrpSpPr/>
              <p:nvPr/>
            </p:nvGrpSpPr>
            <p:grpSpPr>
              <a:xfrm>
                <a:off x="7965980" y="3616954"/>
                <a:ext cx="377441" cy="15219"/>
                <a:chOff x="7965980" y="3616954"/>
                <a:chExt cx="377441" cy="15219"/>
              </a:xfrm>
            </p:grpSpPr>
            <p:grpSp>
              <p:nvGrpSpPr>
                <p:cNvPr id="74" name="Grafik 5">
                  <a:extLst>
                    <a:ext uri="{FF2B5EF4-FFF2-40B4-BE49-F238E27FC236}">
                      <a16:creationId xmlns:a16="http://schemas.microsoft.com/office/drawing/2014/main" id="{4000660B-1FC6-CAAA-B67F-DB492021FE80}"/>
                    </a:ext>
                  </a:extLst>
                </p:cNvPr>
                <p:cNvGrpSpPr/>
                <p:nvPr/>
              </p:nvGrpSpPr>
              <p:grpSpPr>
                <a:xfrm>
                  <a:off x="7965980" y="3617966"/>
                  <a:ext cx="99111" cy="13197"/>
                  <a:chOff x="7965980" y="3617966"/>
                  <a:chExt cx="99111" cy="13197"/>
                </a:xfrm>
                <a:solidFill>
                  <a:srgbClr val="FFFFFF"/>
                </a:solidFill>
              </p:grpSpPr>
              <p:sp>
                <p:nvSpPr>
                  <p:cNvPr id="75" name="Freihandform 74">
                    <a:extLst>
                      <a:ext uri="{FF2B5EF4-FFF2-40B4-BE49-F238E27FC236}">
                        <a16:creationId xmlns:a16="http://schemas.microsoft.com/office/drawing/2014/main" id="{66C3E929-4C59-7A02-C05C-A44C4C3F6B4C}"/>
                      </a:ext>
                    </a:extLst>
                  </p:cNvPr>
                  <p:cNvSpPr/>
                  <p:nvPr/>
                </p:nvSpPr>
                <p:spPr>
                  <a:xfrm>
                    <a:off x="7965980" y="3617966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Freihandform 75">
                    <a:extLst>
                      <a:ext uri="{FF2B5EF4-FFF2-40B4-BE49-F238E27FC236}">
                        <a16:creationId xmlns:a16="http://schemas.microsoft.com/office/drawing/2014/main" id="{3E442684-22BB-025C-332F-9081BC7DFD6D}"/>
                      </a:ext>
                    </a:extLst>
                  </p:cNvPr>
                  <p:cNvSpPr/>
                  <p:nvPr/>
                </p:nvSpPr>
                <p:spPr>
                  <a:xfrm>
                    <a:off x="7994616" y="3617966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Freihandform 76">
                    <a:extLst>
                      <a:ext uri="{FF2B5EF4-FFF2-40B4-BE49-F238E27FC236}">
                        <a16:creationId xmlns:a16="http://schemas.microsoft.com/office/drawing/2014/main" id="{D0F2E8F9-ACE8-8BA4-9747-E2FD189B0F06}"/>
                      </a:ext>
                    </a:extLst>
                  </p:cNvPr>
                  <p:cNvSpPr/>
                  <p:nvPr/>
                </p:nvSpPr>
                <p:spPr>
                  <a:xfrm>
                    <a:off x="8023264" y="3617966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8" name="Freihandform 77">
                    <a:extLst>
                      <a:ext uri="{FF2B5EF4-FFF2-40B4-BE49-F238E27FC236}">
                        <a16:creationId xmlns:a16="http://schemas.microsoft.com/office/drawing/2014/main" id="{79C06F96-5D3F-8F44-8850-0C5AE4B0C9CE}"/>
                      </a:ext>
                    </a:extLst>
                  </p:cNvPr>
                  <p:cNvSpPr/>
                  <p:nvPr/>
                </p:nvSpPr>
                <p:spPr>
                  <a:xfrm>
                    <a:off x="8051899" y="3617966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9" name="Freihandform 78">
                  <a:extLst>
                    <a:ext uri="{FF2B5EF4-FFF2-40B4-BE49-F238E27FC236}">
                      <a16:creationId xmlns:a16="http://schemas.microsoft.com/office/drawing/2014/main" id="{018A238F-078C-3BE4-C06A-4047E6B87FF4}"/>
                    </a:ext>
                  </a:extLst>
                </p:cNvPr>
                <p:cNvSpPr/>
                <p:nvPr/>
              </p:nvSpPr>
              <p:spPr>
                <a:xfrm>
                  <a:off x="8299028" y="3616954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7" y="15220"/>
                      </a:cubicBezTo>
                      <a:cubicBezTo>
                        <a:pt x="3406" y="15220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0" name="Freihandform 79">
                  <a:extLst>
                    <a:ext uri="{FF2B5EF4-FFF2-40B4-BE49-F238E27FC236}">
                      <a16:creationId xmlns:a16="http://schemas.microsoft.com/office/drawing/2014/main" id="{386F925D-3DE6-B8BD-F769-990E0B9AA3D3}"/>
                    </a:ext>
                  </a:extLst>
                </p:cNvPr>
                <p:cNvSpPr/>
                <p:nvPr/>
              </p:nvSpPr>
              <p:spPr>
                <a:xfrm>
                  <a:off x="8328207" y="3616954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8" y="15220"/>
                      </a:cubicBezTo>
                      <a:cubicBezTo>
                        <a:pt x="3406" y="15220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1" name="Grafik 5">
                <a:extLst>
                  <a:ext uri="{FF2B5EF4-FFF2-40B4-BE49-F238E27FC236}">
                    <a16:creationId xmlns:a16="http://schemas.microsoft.com/office/drawing/2014/main" id="{2F4516BE-280C-CAEF-D78B-2802A45AC8C1}"/>
                  </a:ext>
                </a:extLst>
              </p:cNvPr>
              <p:cNvGrpSpPr/>
              <p:nvPr/>
            </p:nvGrpSpPr>
            <p:grpSpPr>
              <a:xfrm>
                <a:off x="7965980" y="3520480"/>
                <a:ext cx="377441" cy="15219"/>
                <a:chOff x="7965980" y="3520480"/>
                <a:chExt cx="377441" cy="15219"/>
              </a:xfrm>
            </p:grpSpPr>
            <p:grpSp>
              <p:nvGrpSpPr>
                <p:cNvPr id="82" name="Grafik 5">
                  <a:extLst>
                    <a:ext uri="{FF2B5EF4-FFF2-40B4-BE49-F238E27FC236}">
                      <a16:creationId xmlns:a16="http://schemas.microsoft.com/office/drawing/2014/main" id="{F4C03E6A-6C53-BFB0-DFE2-53342C164E5C}"/>
                    </a:ext>
                  </a:extLst>
                </p:cNvPr>
                <p:cNvGrpSpPr/>
                <p:nvPr/>
              </p:nvGrpSpPr>
              <p:grpSpPr>
                <a:xfrm>
                  <a:off x="7965980" y="3521491"/>
                  <a:ext cx="99111" cy="13197"/>
                  <a:chOff x="7965980" y="3521491"/>
                  <a:chExt cx="99111" cy="13197"/>
                </a:xfrm>
                <a:solidFill>
                  <a:srgbClr val="FFFFFF"/>
                </a:solidFill>
              </p:grpSpPr>
              <p:sp>
                <p:nvSpPr>
                  <p:cNvPr id="83" name="Freihandform 82">
                    <a:extLst>
                      <a:ext uri="{FF2B5EF4-FFF2-40B4-BE49-F238E27FC236}">
                        <a16:creationId xmlns:a16="http://schemas.microsoft.com/office/drawing/2014/main" id="{75C69457-81C1-BE82-9C5A-B250C30E1836}"/>
                      </a:ext>
                    </a:extLst>
                  </p:cNvPr>
                  <p:cNvSpPr/>
                  <p:nvPr/>
                </p:nvSpPr>
                <p:spPr>
                  <a:xfrm>
                    <a:off x="7965980" y="3521491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4" name="Freihandform 83">
                    <a:extLst>
                      <a:ext uri="{FF2B5EF4-FFF2-40B4-BE49-F238E27FC236}">
                        <a16:creationId xmlns:a16="http://schemas.microsoft.com/office/drawing/2014/main" id="{43D66256-8CCF-9FE8-0F95-963E48DF24F7}"/>
                      </a:ext>
                    </a:extLst>
                  </p:cNvPr>
                  <p:cNvSpPr/>
                  <p:nvPr/>
                </p:nvSpPr>
                <p:spPr>
                  <a:xfrm>
                    <a:off x="7994616" y="3521491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5" name="Freihandform 84">
                    <a:extLst>
                      <a:ext uri="{FF2B5EF4-FFF2-40B4-BE49-F238E27FC236}">
                        <a16:creationId xmlns:a16="http://schemas.microsoft.com/office/drawing/2014/main" id="{5D310C49-930C-A4FC-16CA-3ACD26910056}"/>
                      </a:ext>
                    </a:extLst>
                  </p:cNvPr>
                  <p:cNvSpPr/>
                  <p:nvPr/>
                </p:nvSpPr>
                <p:spPr>
                  <a:xfrm>
                    <a:off x="8023264" y="3521491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6" name="Freihandform 85">
                    <a:extLst>
                      <a:ext uri="{FF2B5EF4-FFF2-40B4-BE49-F238E27FC236}">
                        <a16:creationId xmlns:a16="http://schemas.microsoft.com/office/drawing/2014/main" id="{8CEA404E-3659-AF37-0886-4B7645CCEA62}"/>
                      </a:ext>
                    </a:extLst>
                  </p:cNvPr>
                  <p:cNvSpPr/>
                  <p:nvPr/>
                </p:nvSpPr>
                <p:spPr>
                  <a:xfrm>
                    <a:off x="8051899" y="3521491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7" name="Freihandform 86">
                  <a:extLst>
                    <a:ext uri="{FF2B5EF4-FFF2-40B4-BE49-F238E27FC236}">
                      <a16:creationId xmlns:a16="http://schemas.microsoft.com/office/drawing/2014/main" id="{66DE5FE9-22A5-3617-A805-0D66F531668C}"/>
                    </a:ext>
                  </a:extLst>
                </p:cNvPr>
                <p:cNvSpPr/>
                <p:nvPr/>
              </p:nvSpPr>
              <p:spPr>
                <a:xfrm>
                  <a:off x="8299028" y="3520480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7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8" name="Freihandform 87">
                  <a:extLst>
                    <a:ext uri="{FF2B5EF4-FFF2-40B4-BE49-F238E27FC236}">
                      <a16:creationId xmlns:a16="http://schemas.microsoft.com/office/drawing/2014/main" id="{F4CA41FE-AFBF-0D04-2FE8-BDE4E13E8E1E}"/>
                    </a:ext>
                  </a:extLst>
                </p:cNvPr>
                <p:cNvSpPr/>
                <p:nvPr/>
              </p:nvSpPr>
              <p:spPr>
                <a:xfrm>
                  <a:off x="8328207" y="3520480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9" name="Grafik 5">
            <a:extLst>
              <a:ext uri="{FF2B5EF4-FFF2-40B4-BE49-F238E27FC236}">
                <a16:creationId xmlns:a16="http://schemas.microsoft.com/office/drawing/2014/main" id="{BEDD4ADD-FCDD-8634-71B4-4A9F1687310D}"/>
              </a:ext>
            </a:extLst>
          </p:cNvPr>
          <p:cNvGrpSpPr/>
          <p:nvPr/>
        </p:nvGrpSpPr>
        <p:grpSpPr>
          <a:xfrm>
            <a:off x="8586250" y="3487184"/>
            <a:ext cx="500784" cy="285556"/>
            <a:chOff x="8586250" y="3487184"/>
            <a:chExt cx="500784" cy="285556"/>
          </a:xfrm>
        </p:grpSpPr>
        <p:sp>
          <p:nvSpPr>
            <p:cNvPr id="90" name="Freihandform 89">
              <a:extLst>
                <a:ext uri="{FF2B5EF4-FFF2-40B4-BE49-F238E27FC236}">
                  <a16:creationId xmlns:a16="http://schemas.microsoft.com/office/drawing/2014/main" id="{9E277134-D45B-48B5-9470-9C3B58EE46B9}"/>
                </a:ext>
              </a:extLst>
            </p:cNvPr>
            <p:cNvSpPr/>
            <p:nvPr/>
          </p:nvSpPr>
          <p:spPr>
            <a:xfrm>
              <a:off x="8586250" y="3742731"/>
              <a:ext cx="500784" cy="30009"/>
            </a:xfrm>
            <a:custGeom>
              <a:avLst/>
              <a:gdLst>
                <a:gd name="connsiteX0" fmla="*/ 451866 w 500784"/>
                <a:gd name="connsiteY0" fmla="*/ 0 h 30009"/>
                <a:gd name="connsiteX1" fmla="*/ 48935 w 500784"/>
                <a:gd name="connsiteY1" fmla="*/ 0 h 30009"/>
                <a:gd name="connsiteX2" fmla="*/ 21424 w 500784"/>
                <a:gd name="connsiteY2" fmla="*/ 7104 h 30009"/>
                <a:gd name="connsiteX3" fmla="*/ 3606 w 500784"/>
                <a:gd name="connsiteY3" fmla="*/ 16951 h 30009"/>
                <a:gd name="connsiteX4" fmla="*/ 6980 w 500784"/>
                <a:gd name="connsiteY4" fmla="*/ 30009 h 30009"/>
                <a:gd name="connsiteX5" fmla="*/ 493808 w 500784"/>
                <a:gd name="connsiteY5" fmla="*/ 30009 h 30009"/>
                <a:gd name="connsiteX6" fmla="*/ 497182 w 500784"/>
                <a:gd name="connsiteY6" fmla="*/ 16951 h 30009"/>
                <a:gd name="connsiteX7" fmla="*/ 479363 w 500784"/>
                <a:gd name="connsiteY7" fmla="*/ 7104 h 30009"/>
                <a:gd name="connsiteX8" fmla="*/ 451853 w 500784"/>
                <a:gd name="connsiteY8" fmla="*/ 0 h 3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784" h="30009">
                  <a:moveTo>
                    <a:pt x="451866" y="0"/>
                  </a:moveTo>
                  <a:lnTo>
                    <a:pt x="48935" y="0"/>
                  </a:lnTo>
                  <a:cubicBezTo>
                    <a:pt x="39319" y="0"/>
                    <a:pt x="29853" y="2440"/>
                    <a:pt x="21424" y="7104"/>
                  </a:cubicBezTo>
                  <a:lnTo>
                    <a:pt x="3606" y="16951"/>
                  </a:lnTo>
                  <a:cubicBezTo>
                    <a:pt x="-2687" y="20428"/>
                    <a:pt x="-223" y="30009"/>
                    <a:pt x="6980" y="30009"/>
                  </a:cubicBezTo>
                  <a:lnTo>
                    <a:pt x="493808" y="30009"/>
                  </a:lnTo>
                  <a:cubicBezTo>
                    <a:pt x="500998" y="30009"/>
                    <a:pt x="503475" y="20428"/>
                    <a:pt x="497182" y="16951"/>
                  </a:cubicBezTo>
                  <a:lnTo>
                    <a:pt x="479363" y="7104"/>
                  </a:lnTo>
                  <a:cubicBezTo>
                    <a:pt x="470947" y="2452"/>
                    <a:pt x="461482" y="0"/>
                    <a:pt x="451853" y="0"/>
                  </a:cubicBezTo>
                  <a:close/>
                </a:path>
              </a:pathLst>
            </a:custGeom>
            <a:solidFill>
              <a:srgbClr val="6CB4A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91" name="Grafik 5">
              <a:extLst>
                <a:ext uri="{FF2B5EF4-FFF2-40B4-BE49-F238E27FC236}">
                  <a16:creationId xmlns:a16="http://schemas.microsoft.com/office/drawing/2014/main" id="{89176A4B-E99C-C51F-FAED-0EAA08C9F59F}"/>
                </a:ext>
              </a:extLst>
            </p:cNvPr>
            <p:cNvGrpSpPr/>
            <p:nvPr/>
          </p:nvGrpSpPr>
          <p:grpSpPr>
            <a:xfrm>
              <a:off x="8630522" y="3487184"/>
              <a:ext cx="412256" cy="274760"/>
              <a:chOff x="8630522" y="3487184"/>
              <a:chExt cx="412256" cy="274760"/>
            </a:xfrm>
          </p:grpSpPr>
          <p:sp>
            <p:nvSpPr>
              <p:cNvPr id="92" name="Freihandform 91">
                <a:extLst>
                  <a:ext uri="{FF2B5EF4-FFF2-40B4-BE49-F238E27FC236}">
                    <a16:creationId xmlns:a16="http://schemas.microsoft.com/office/drawing/2014/main" id="{4E91FE67-7D0B-E74A-6FB7-98CD6A04CFC8}"/>
                  </a:ext>
                </a:extLst>
              </p:cNvPr>
              <p:cNvSpPr/>
              <p:nvPr/>
            </p:nvSpPr>
            <p:spPr>
              <a:xfrm>
                <a:off x="8643525" y="3543777"/>
                <a:ext cx="386249" cy="218167"/>
              </a:xfrm>
              <a:custGeom>
                <a:avLst/>
                <a:gdLst>
                  <a:gd name="connsiteX0" fmla="*/ 0 w 386249"/>
                  <a:gd name="connsiteY0" fmla="*/ 0 h 218167"/>
                  <a:gd name="connsiteX1" fmla="*/ 386249 w 386249"/>
                  <a:gd name="connsiteY1" fmla="*/ 0 h 218167"/>
                  <a:gd name="connsiteX2" fmla="*/ 386249 w 386249"/>
                  <a:gd name="connsiteY2" fmla="*/ 218168 h 218167"/>
                  <a:gd name="connsiteX3" fmla="*/ 0 w 386249"/>
                  <a:gd name="connsiteY3" fmla="*/ 218168 h 218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249" h="218167">
                    <a:moveTo>
                      <a:pt x="0" y="0"/>
                    </a:moveTo>
                    <a:lnTo>
                      <a:pt x="386249" y="0"/>
                    </a:lnTo>
                    <a:lnTo>
                      <a:pt x="386249" y="218168"/>
                    </a:lnTo>
                    <a:lnTo>
                      <a:pt x="0" y="218168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Freihandform 92">
                <a:extLst>
                  <a:ext uri="{FF2B5EF4-FFF2-40B4-BE49-F238E27FC236}">
                    <a16:creationId xmlns:a16="http://schemas.microsoft.com/office/drawing/2014/main" id="{23C30390-11AF-5C3F-82A9-F22B1D17A623}"/>
                  </a:ext>
                </a:extLst>
              </p:cNvPr>
              <p:cNvSpPr/>
              <p:nvPr/>
            </p:nvSpPr>
            <p:spPr>
              <a:xfrm>
                <a:off x="8630522" y="3487184"/>
                <a:ext cx="412256" cy="81798"/>
              </a:xfrm>
              <a:custGeom>
                <a:avLst/>
                <a:gdLst>
                  <a:gd name="connsiteX0" fmla="*/ 402412 w 412256"/>
                  <a:gd name="connsiteY0" fmla="*/ 0 h 81798"/>
                  <a:gd name="connsiteX1" fmla="*/ 412256 w 412256"/>
                  <a:gd name="connsiteY1" fmla="*/ 9847 h 81798"/>
                  <a:gd name="connsiteX2" fmla="*/ 412256 w 412256"/>
                  <a:gd name="connsiteY2" fmla="*/ 71952 h 81798"/>
                  <a:gd name="connsiteX3" fmla="*/ 402412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2" y="0"/>
                    </a:moveTo>
                    <a:cubicBezTo>
                      <a:pt x="407849" y="0"/>
                      <a:pt x="412256" y="4409"/>
                      <a:pt x="412256" y="9847"/>
                    </a:cubicBezTo>
                    <a:lnTo>
                      <a:pt x="412256" y="71952"/>
                    </a:lnTo>
                    <a:cubicBezTo>
                      <a:pt x="412256" y="77390"/>
                      <a:pt x="407849" y="81799"/>
                      <a:pt x="402412" y="81799"/>
                    </a:cubicBezTo>
                    <a:lnTo>
                      <a:pt x="9844" y="81799"/>
                    </a:lnTo>
                    <a:cubicBezTo>
                      <a:pt x="4407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7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Freihandform 93">
                <a:extLst>
                  <a:ext uri="{FF2B5EF4-FFF2-40B4-BE49-F238E27FC236}">
                    <a16:creationId xmlns:a16="http://schemas.microsoft.com/office/drawing/2014/main" id="{B7BBE12D-5411-B717-DB3D-712BF4015A99}"/>
                  </a:ext>
                </a:extLst>
              </p:cNvPr>
              <p:cNvSpPr/>
              <p:nvPr/>
            </p:nvSpPr>
            <p:spPr>
              <a:xfrm>
                <a:off x="8630522" y="3583658"/>
                <a:ext cx="412256" cy="81798"/>
              </a:xfrm>
              <a:custGeom>
                <a:avLst/>
                <a:gdLst>
                  <a:gd name="connsiteX0" fmla="*/ 402412 w 412256"/>
                  <a:gd name="connsiteY0" fmla="*/ 0 h 81798"/>
                  <a:gd name="connsiteX1" fmla="*/ 412256 w 412256"/>
                  <a:gd name="connsiteY1" fmla="*/ 9847 h 81798"/>
                  <a:gd name="connsiteX2" fmla="*/ 412256 w 412256"/>
                  <a:gd name="connsiteY2" fmla="*/ 71952 h 81798"/>
                  <a:gd name="connsiteX3" fmla="*/ 402412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2" y="0"/>
                    </a:moveTo>
                    <a:cubicBezTo>
                      <a:pt x="407849" y="0"/>
                      <a:pt x="412256" y="4409"/>
                      <a:pt x="412256" y="9847"/>
                    </a:cubicBezTo>
                    <a:lnTo>
                      <a:pt x="412256" y="71952"/>
                    </a:lnTo>
                    <a:cubicBezTo>
                      <a:pt x="412256" y="77390"/>
                      <a:pt x="407849" y="81799"/>
                      <a:pt x="402412" y="81799"/>
                    </a:cubicBezTo>
                    <a:lnTo>
                      <a:pt x="9844" y="81799"/>
                    </a:lnTo>
                    <a:cubicBezTo>
                      <a:pt x="4407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7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Freihandform 94">
                <a:extLst>
                  <a:ext uri="{FF2B5EF4-FFF2-40B4-BE49-F238E27FC236}">
                    <a16:creationId xmlns:a16="http://schemas.microsoft.com/office/drawing/2014/main" id="{DB0EE329-713B-D1CB-35EA-9881B0F23B41}"/>
                  </a:ext>
                </a:extLst>
              </p:cNvPr>
              <p:cNvSpPr/>
              <p:nvPr/>
            </p:nvSpPr>
            <p:spPr>
              <a:xfrm>
                <a:off x="8630522" y="3680146"/>
                <a:ext cx="412256" cy="81798"/>
              </a:xfrm>
              <a:custGeom>
                <a:avLst/>
                <a:gdLst>
                  <a:gd name="connsiteX0" fmla="*/ 402412 w 412256"/>
                  <a:gd name="connsiteY0" fmla="*/ 0 h 81798"/>
                  <a:gd name="connsiteX1" fmla="*/ 412256 w 412256"/>
                  <a:gd name="connsiteY1" fmla="*/ 9847 h 81798"/>
                  <a:gd name="connsiteX2" fmla="*/ 412256 w 412256"/>
                  <a:gd name="connsiteY2" fmla="*/ 71952 h 81798"/>
                  <a:gd name="connsiteX3" fmla="*/ 402412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2" y="0"/>
                    </a:moveTo>
                    <a:cubicBezTo>
                      <a:pt x="407849" y="0"/>
                      <a:pt x="412256" y="4409"/>
                      <a:pt x="412256" y="9847"/>
                    </a:cubicBezTo>
                    <a:lnTo>
                      <a:pt x="412256" y="71952"/>
                    </a:lnTo>
                    <a:cubicBezTo>
                      <a:pt x="412256" y="77390"/>
                      <a:pt x="407849" y="81799"/>
                      <a:pt x="402412" y="81799"/>
                    </a:cubicBezTo>
                    <a:lnTo>
                      <a:pt x="9844" y="81799"/>
                    </a:lnTo>
                    <a:cubicBezTo>
                      <a:pt x="4407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7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96" name="Grafik 5">
                <a:extLst>
                  <a:ext uri="{FF2B5EF4-FFF2-40B4-BE49-F238E27FC236}">
                    <a16:creationId xmlns:a16="http://schemas.microsoft.com/office/drawing/2014/main" id="{0C105F78-8B25-2777-BE59-C942E173841E}"/>
                  </a:ext>
                </a:extLst>
              </p:cNvPr>
              <p:cNvGrpSpPr/>
              <p:nvPr/>
            </p:nvGrpSpPr>
            <p:grpSpPr>
              <a:xfrm>
                <a:off x="8916774" y="3487184"/>
                <a:ext cx="126003" cy="274748"/>
                <a:chOff x="8916774" y="3487184"/>
                <a:chExt cx="126003" cy="274748"/>
              </a:xfrm>
              <a:solidFill>
                <a:srgbClr val="08665C"/>
              </a:solidFill>
            </p:grpSpPr>
            <p:sp>
              <p:nvSpPr>
                <p:cNvPr id="97" name="Freihandform 96">
                  <a:extLst>
                    <a:ext uri="{FF2B5EF4-FFF2-40B4-BE49-F238E27FC236}">
                      <a16:creationId xmlns:a16="http://schemas.microsoft.com/office/drawing/2014/main" id="{E4C3DBBB-430E-C159-9591-EF6647F3395E}"/>
                    </a:ext>
                  </a:extLst>
                </p:cNvPr>
                <p:cNvSpPr/>
                <p:nvPr/>
              </p:nvSpPr>
              <p:spPr>
                <a:xfrm>
                  <a:off x="8916774" y="3487184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Freihandform 97">
                  <a:extLst>
                    <a:ext uri="{FF2B5EF4-FFF2-40B4-BE49-F238E27FC236}">
                      <a16:creationId xmlns:a16="http://schemas.microsoft.com/office/drawing/2014/main" id="{B1968935-5C0D-E887-34FB-74AB0B483665}"/>
                    </a:ext>
                  </a:extLst>
                </p:cNvPr>
                <p:cNvSpPr/>
                <p:nvPr/>
              </p:nvSpPr>
              <p:spPr>
                <a:xfrm>
                  <a:off x="8916774" y="3583658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9" name="Freihandform 98">
                  <a:extLst>
                    <a:ext uri="{FF2B5EF4-FFF2-40B4-BE49-F238E27FC236}">
                      <a16:creationId xmlns:a16="http://schemas.microsoft.com/office/drawing/2014/main" id="{E885E5F8-965F-FCC1-BF17-0FB97396B05B}"/>
                    </a:ext>
                  </a:extLst>
                </p:cNvPr>
                <p:cNvSpPr/>
                <p:nvPr/>
              </p:nvSpPr>
              <p:spPr>
                <a:xfrm>
                  <a:off x="8916774" y="3680133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0" name="Grafik 5">
                <a:extLst>
                  <a:ext uri="{FF2B5EF4-FFF2-40B4-BE49-F238E27FC236}">
                    <a16:creationId xmlns:a16="http://schemas.microsoft.com/office/drawing/2014/main" id="{93F4DA79-CA39-9864-4C2B-8B33159763A7}"/>
                  </a:ext>
                </a:extLst>
              </p:cNvPr>
              <p:cNvGrpSpPr/>
              <p:nvPr/>
            </p:nvGrpSpPr>
            <p:grpSpPr>
              <a:xfrm>
                <a:off x="8647923" y="3713429"/>
                <a:ext cx="377441" cy="15219"/>
                <a:chOff x="8647923" y="3713429"/>
                <a:chExt cx="377441" cy="15219"/>
              </a:xfrm>
            </p:grpSpPr>
            <p:grpSp>
              <p:nvGrpSpPr>
                <p:cNvPr id="101" name="Grafik 5">
                  <a:extLst>
                    <a:ext uri="{FF2B5EF4-FFF2-40B4-BE49-F238E27FC236}">
                      <a16:creationId xmlns:a16="http://schemas.microsoft.com/office/drawing/2014/main" id="{11BC890C-13A5-0394-A92D-1072AEF9157B}"/>
                    </a:ext>
                  </a:extLst>
                </p:cNvPr>
                <p:cNvGrpSpPr/>
                <p:nvPr/>
              </p:nvGrpSpPr>
              <p:grpSpPr>
                <a:xfrm>
                  <a:off x="8647923" y="3714440"/>
                  <a:ext cx="99124" cy="13197"/>
                  <a:chOff x="8647923" y="3714440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102" name="Freihandform 101">
                    <a:extLst>
                      <a:ext uri="{FF2B5EF4-FFF2-40B4-BE49-F238E27FC236}">
                        <a16:creationId xmlns:a16="http://schemas.microsoft.com/office/drawing/2014/main" id="{44378A45-6937-5D72-C175-C01B5AA8F872}"/>
                      </a:ext>
                    </a:extLst>
                  </p:cNvPr>
                  <p:cNvSpPr/>
                  <p:nvPr/>
                </p:nvSpPr>
                <p:spPr>
                  <a:xfrm>
                    <a:off x="8647923" y="371444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3" name="Freihandform 102">
                    <a:extLst>
                      <a:ext uri="{FF2B5EF4-FFF2-40B4-BE49-F238E27FC236}">
                        <a16:creationId xmlns:a16="http://schemas.microsoft.com/office/drawing/2014/main" id="{CF45E2FD-7FAD-6EC6-2088-760BCA52D10A}"/>
                      </a:ext>
                    </a:extLst>
                  </p:cNvPr>
                  <p:cNvSpPr/>
                  <p:nvPr/>
                </p:nvSpPr>
                <p:spPr>
                  <a:xfrm>
                    <a:off x="8676571" y="371444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Freihandform 103">
                    <a:extLst>
                      <a:ext uri="{FF2B5EF4-FFF2-40B4-BE49-F238E27FC236}">
                        <a16:creationId xmlns:a16="http://schemas.microsoft.com/office/drawing/2014/main" id="{D3C586E9-C973-8D89-1506-5A0624975DF0}"/>
                      </a:ext>
                    </a:extLst>
                  </p:cNvPr>
                  <p:cNvSpPr/>
                  <p:nvPr/>
                </p:nvSpPr>
                <p:spPr>
                  <a:xfrm>
                    <a:off x="8705219" y="371444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Freihandform 104">
                    <a:extLst>
                      <a:ext uri="{FF2B5EF4-FFF2-40B4-BE49-F238E27FC236}">
                        <a16:creationId xmlns:a16="http://schemas.microsoft.com/office/drawing/2014/main" id="{46683339-BEB8-4F8C-57A7-6E41B7A6D7F3}"/>
                      </a:ext>
                    </a:extLst>
                  </p:cNvPr>
                  <p:cNvSpPr/>
                  <p:nvPr/>
                </p:nvSpPr>
                <p:spPr>
                  <a:xfrm>
                    <a:off x="8733854" y="371444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6" name="Freihandform 105">
                  <a:extLst>
                    <a:ext uri="{FF2B5EF4-FFF2-40B4-BE49-F238E27FC236}">
                      <a16:creationId xmlns:a16="http://schemas.microsoft.com/office/drawing/2014/main" id="{32AF3ED8-E720-EB5A-3508-D668BD6651B7}"/>
                    </a:ext>
                  </a:extLst>
                </p:cNvPr>
                <p:cNvSpPr/>
                <p:nvPr/>
              </p:nvSpPr>
              <p:spPr>
                <a:xfrm>
                  <a:off x="8980983" y="3713429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8" y="15220"/>
                      </a:cubicBezTo>
                      <a:cubicBezTo>
                        <a:pt x="3406" y="15220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7" name="Freihandform 106">
                  <a:extLst>
                    <a:ext uri="{FF2B5EF4-FFF2-40B4-BE49-F238E27FC236}">
                      <a16:creationId xmlns:a16="http://schemas.microsoft.com/office/drawing/2014/main" id="{5997CA0A-9B20-6BA8-F62E-3286CEC75870}"/>
                    </a:ext>
                  </a:extLst>
                </p:cNvPr>
                <p:cNvSpPr/>
                <p:nvPr/>
              </p:nvSpPr>
              <p:spPr>
                <a:xfrm>
                  <a:off x="9010149" y="3713429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7" y="15220"/>
                      </a:cubicBezTo>
                      <a:cubicBezTo>
                        <a:pt x="3406" y="15220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8" name="Grafik 5">
                <a:extLst>
                  <a:ext uri="{FF2B5EF4-FFF2-40B4-BE49-F238E27FC236}">
                    <a16:creationId xmlns:a16="http://schemas.microsoft.com/office/drawing/2014/main" id="{23AE266B-FF77-B3C8-9E58-44B7419C6CE8}"/>
                  </a:ext>
                </a:extLst>
              </p:cNvPr>
              <p:cNvGrpSpPr/>
              <p:nvPr/>
            </p:nvGrpSpPr>
            <p:grpSpPr>
              <a:xfrm>
                <a:off x="8647923" y="3616954"/>
                <a:ext cx="377441" cy="15219"/>
                <a:chOff x="8647923" y="3616954"/>
                <a:chExt cx="377441" cy="15219"/>
              </a:xfrm>
            </p:grpSpPr>
            <p:grpSp>
              <p:nvGrpSpPr>
                <p:cNvPr id="109" name="Grafik 5">
                  <a:extLst>
                    <a:ext uri="{FF2B5EF4-FFF2-40B4-BE49-F238E27FC236}">
                      <a16:creationId xmlns:a16="http://schemas.microsoft.com/office/drawing/2014/main" id="{B6D56C44-B44C-C4BC-C6C9-7F1E8BF81D5B}"/>
                    </a:ext>
                  </a:extLst>
                </p:cNvPr>
                <p:cNvGrpSpPr/>
                <p:nvPr/>
              </p:nvGrpSpPr>
              <p:grpSpPr>
                <a:xfrm>
                  <a:off x="8647923" y="3617966"/>
                  <a:ext cx="99124" cy="13197"/>
                  <a:chOff x="8647923" y="3617966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110" name="Freihandform 109">
                    <a:extLst>
                      <a:ext uri="{FF2B5EF4-FFF2-40B4-BE49-F238E27FC236}">
                        <a16:creationId xmlns:a16="http://schemas.microsoft.com/office/drawing/2014/main" id="{C717F842-6045-BB39-2C4D-F934D667BE04}"/>
                      </a:ext>
                    </a:extLst>
                  </p:cNvPr>
                  <p:cNvSpPr/>
                  <p:nvPr/>
                </p:nvSpPr>
                <p:spPr>
                  <a:xfrm>
                    <a:off x="8647923" y="3617966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" name="Freihandform 110">
                    <a:extLst>
                      <a:ext uri="{FF2B5EF4-FFF2-40B4-BE49-F238E27FC236}">
                        <a16:creationId xmlns:a16="http://schemas.microsoft.com/office/drawing/2014/main" id="{2FA52F42-A7C6-6112-FAB8-E5BCC056A96E}"/>
                      </a:ext>
                    </a:extLst>
                  </p:cNvPr>
                  <p:cNvSpPr/>
                  <p:nvPr/>
                </p:nvSpPr>
                <p:spPr>
                  <a:xfrm>
                    <a:off x="8676571" y="3617966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2" name="Freihandform 111">
                    <a:extLst>
                      <a:ext uri="{FF2B5EF4-FFF2-40B4-BE49-F238E27FC236}">
                        <a16:creationId xmlns:a16="http://schemas.microsoft.com/office/drawing/2014/main" id="{C50ABEF1-74AE-4A1C-FDBD-ED88DFE65A8D}"/>
                      </a:ext>
                    </a:extLst>
                  </p:cNvPr>
                  <p:cNvSpPr/>
                  <p:nvPr/>
                </p:nvSpPr>
                <p:spPr>
                  <a:xfrm>
                    <a:off x="8705219" y="3617966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3" name="Freihandform 112">
                    <a:extLst>
                      <a:ext uri="{FF2B5EF4-FFF2-40B4-BE49-F238E27FC236}">
                        <a16:creationId xmlns:a16="http://schemas.microsoft.com/office/drawing/2014/main" id="{700F5AAC-F935-9E50-B649-C85C76909A76}"/>
                      </a:ext>
                    </a:extLst>
                  </p:cNvPr>
                  <p:cNvSpPr/>
                  <p:nvPr/>
                </p:nvSpPr>
                <p:spPr>
                  <a:xfrm>
                    <a:off x="8733854" y="3617966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14" name="Freihandform 113">
                  <a:extLst>
                    <a:ext uri="{FF2B5EF4-FFF2-40B4-BE49-F238E27FC236}">
                      <a16:creationId xmlns:a16="http://schemas.microsoft.com/office/drawing/2014/main" id="{9A2CB2C4-A369-1246-1A85-2C52D6BA1279}"/>
                    </a:ext>
                  </a:extLst>
                </p:cNvPr>
                <p:cNvSpPr/>
                <p:nvPr/>
              </p:nvSpPr>
              <p:spPr>
                <a:xfrm>
                  <a:off x="8980983" y="3616954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8" y="15220"/>
                      </a:cubicBezTo>
                      <a:cubicBezTo>
                        <a:pt x="3406" y="15220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5" name="Freihandform 114">
                  <a:extLst>
                    <a:ext uri="{FF2B5EF4-FFF2-40B4-BE49-F238E27FC236}">
                      <a16:creationId xmlns:a16="http://schemas.microsoft.com/office/drawing/2014/main" id="{18A50B2C-1602-DDCB-DD07-007FDD8968D2}"/>
                    </a:ext>
                  </a:extLst>
                </p:cNvPr>
                <p:cNvSpPr/>
                <p:nvPr/>
              </p:nvSpPr>
              <p:spPr>
                <a:xfrm>
                  <a:off x="9010149" y="3616954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7" y="15220"/>
                      </a:cubicBezTo>
                      <a:cubicBezTo>
                        <a:pt x="3406" y="15220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6" name="Grafik 5">
                <a:extLst>
                  <a:ext uri="{FF2B5EF4-FFF2-40B4-BE49-F238E27FC236}">
                    <a16:creationId xmlns:a16="http://schemas.microsoft.com/office/drawing/2014/main" id="{6B470C2E-B8B4-48CC-50B7-3F675B4CB665}"/>
                  </a:ext>
                </a:extLst>
              </p:cNvPr>
              <p:cNvGrpSpPr/>
              <p:nvPr/>
            </p:nvGrpSpPr>
            <p:grpSpPr>
              <a:xfrm>
                <a:off x="8647923" y="3520480"/>
                <a:ext cx="377441" cy="15219"/>
                <a:chOff x="8647923" y="3520480"/>
                <a:chExt cx="377441" cy="15219"/>
              </a:xfrm>
            </p:grpSpPr>
            <p:grpSp>
              <p:nvGrpSpPr>
                <p:cNvPr id="117" name="Grafik 5">
                  <a:extLst>
                    <a:ext uri="{FF2B5EF4-FFF2-40B4-BE49-F238E27FC236}">
                      <a16:creationId xmlns:a16="http://schemas.microsoft.com/office/drawing/2014/main" id="{2AD5F371-FD40-1930-588A-933D553CC9DE}"/>
                    </a:ext>
                  </a:extLst>
                </p:cNvPr>
                <p:cNvGrpSpPr/>
                <p:nvPr/>
              </p:nvGrpSpPr>
              <p:grpSpPr>
                <a:xfrm>
                  <a:off x="8647923" y="3521491"/>
                  <a:ext cx="99124" cy="13197"/>
                  <a:chOff x="8647923" y="3521491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118" name="Freihandform 117">
                    <a:extLst>
                      <a:ext uri="{FF2B5EF4-FFF2-40B4-BE49-F238E27FC236}">
                        <a16:creationId xmlns:a16="http://schemas.microsoft.com/office/drawing/2014/main" id="{5B575C0A-6A46-4E51-CEB7-0B44CCB04972}"/>
                      </a:ext>
                    </a:extLst>
                  </p:cNvPr>
                  <p:cNvSpPr/>
                  <p:nvPr/>
                </p:nvSpPr>
                <p:spPr>
                  <a:xfrm>
                    <a:off x="8647923" y="3521491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9" name="Freihandform 118">
                    <a:extLst>
                      <a:ext uri="{FF2B5EF4-FFF2-40B4-BE49-F238E27FC236}">
                        <a16:creationId xmlns:a16="http://schemas.microsoft.com/office/drawing/2014/main" id="{D188CE63-62CC-023F-C31E-214CD766BCA6}"/>
                      </a:ext>
                    </a:extLst>
                  </p:cNvPr>
                  <p:cNvSpPr/>
                  <p:nvPr/>
                </p:nvSpPr>
                <p:spPr>
                  <a:xfrm>
                    <a:off x="8676571" y="3521491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0" name="Freihandform 119">
                    <a:extLst>
                      <a:ext uri="{FF2B5EF4-FFF2-40B4-BE49-F238E27FC236}">
                        <a16:creationId xmlns:a16="http://schemas.microsoft.com/office/drawing/2014/main" id="{8513E0CB-4411-808B-4D93-7E000CA546D2}"/>
                      </a:ext>
                    </a:extLst>
                  </p:cNvPr>
                  <p:cNvSpPr/>
                  <p:nvPr/>
                </p:nvSpPr>
                <p:spPr>
                  <a:xfrm>
                    <a:off x="8705219" y="3521491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1" name="Freihandform 120">
                    <a:extLst>
                      <a:ext uri="{FF2B5EF4-FFF2-40B4-BE49-F238E27FC236}">
                        <a16:creationId xmlns:a16="http://schemas.microsoft.com/office/drawing/2014/main" id="{A0268261-1F69-B7BE-8903-29D0FFAA9A4E}"/>
                      </a:ext>
                    </a:extLst>
                  </p:cNvPr>
                  <p:cNvSpPr/>
                  <p:nvPr/>
                </p:nvSpPr>
                <p:spPr>
                  <a:xfrm>
                    <a:off x="8733854" y="3521491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22" name="Freihandform 121">
                  <a:extLst>
                    <a:ext uri="{FF2B5EF4-FFF2-40B4-BE49-F238E27FC236}">
                      <a16:creationId xmlns:a16="http://schemas.microsoft.com/office/drawing/2014/main" id="{F83DECEB-1034-B5CF-E814-8D5CD48324D8}"/>
                    </a:ext>
                  </a:extLst>
                </p:cNvPr>
                <p:cNvSpPr/>
                <p:nvPr/>
              </p:nvSpPr>
              <p:spPr>
                <a:xfrm>
                  <a:off x="8980983" y="3520480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3" name="Freihandform 122">
                  <a:extLst>
                    <a:ext uri="{FF2B5EF4-FFF2-40B4-BE49-F238E27FC236}">
                      <a16:creationId xmlns:a16="http://schemas.microsoft.com/office/drawing/2014/main" id="{B76341F3-4559-7D74-EE41-4F0D86C32D77}"/>
                    </a:ext>
                  </a:extLst>
                </p:cNvPr>
                <p:cNvSpPr/>
                <p:nvPr/>
              </p:nvSpPr>
              <p:spPr>
                <a:xfrm>
                  <a:off x="9010149" y="3520480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7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24" name="Grafik 5">
            <a:extLst>
              <a:ext uri="{FF2B5EF4-FFF2-40B4-BE49-F238E27FC236}">
                <a16:creationId xmlns:a16="http://schemas.microsoft.com/office/drawing/2014/main" id="{48F479A1-F3EA-DC0C-4140-228ADBCCCDB3}"/>
              </a:ext>
            </a:extLst>
          </p:cNvPr>
          <p:cNvGrpSpPr/>
          <p:nvPr/>
        </p:nvGrpSpPr>
        <p:grpSpPr>
          <a:xfrm>
            <a:off x="10426853" y="3337377"/>
            <a:ext cx="500783" cy="285568"/>
            <a:chOff x="10426853" y="3337377"/>
            <a:chExt cx="500783" cy="285568"/>
          </a:xfrm>
        </p:grpSpPr>
        <p:sp>
          <p:nvSpPr>
            <p:cNvPr id="125" name="Freihandform 124">
              <a:extLst>
                <a:ext uri="{FF2B5EF4-FFF2-40B4-BE49-F238E27FC236}">
                  <a16:creationId xmlns:a16="http://schemas.microsoft.com/office/drawing/2014/main" id="{C4C16C9C-50CC-F466-A9EB-31F008B8A6DC}"/>
                </a:ext>
              </a:extLst>
            </p:cNvPr>
            <p:cNvSpPr/>
            <p:nvPr/>
          </p:nvSpPr>
          <p:spPr>
            <a:xfrm>
              <a:off x="10426853" y="3592937"/>
              <a:ext cx="500783" cy="30009"/>
            </a:xfrm>
            <a:custGeom>
              <a:avLst/>
              <a:gdLst>
                <a:gd name="connsiteX0" fmla="*/ 451865 w 500783"/>
                <a:gd name="connsiteY0" fmla="*/ 0 h 30009"/>
                <a:gd name="connsiteX1" fmla="*/ 48935 w 500783"/>
                <a:gd name="connsiteY1" fmla="*/ 0 h 30009"/>
                <a:gd name="connsiteX2" fmla="*/ 21424 w 500783"/>
                <a:gd name="connsiteY2" fmla="*/ 7104 h 30009"/>
                <a:gd name="connsiteX3" fmla="*/ 3606 w 500783"/>
                <a:gd name="connsiteY3" fmla="*/ 16951 h 30009"/>
                <a:gd name="connsiteX4" fmla="*/ 6980 w 500783"/>
                <a:gd name="connsiteY4" fmla="*/ 30009 h 30009"/>
                <a:gd name="connsiteX5" fmla="*/ 493808 w 500783"/>
                <a:gd name="connsiteY5" fmla="*/ 30009 h 30009"/>
                <a:gd name="connsiteX6" fmla="*/ 497181 w 500783"/>
                <a:gd name="connsiteY6" fmla="*/ 16951 h 30009"/>
                <a:gd name="connsiteX7" fmla="*/ 479364 w 500783"/>
                <a:gd name="connsiteY7" fmla="*/ 7104 h 30009"/>
                <a:gd name="connsiteX8" fmla="*/ 451853 w 500783"/>
                <a:gd name="connsiteY8" fmla="*/ 0 h 3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783" h="30009">
                  <a:moveTo>
                    <a:pt x="451865" y="0"/>
                  </a:moveTo>
                  <a:lnTo>
                    <a:pt x="48935" y="0"/>
                  </a:lnTo>
                  <a:cubicBezTo>
                    <a:pt x="39318" y="0"/>
                    <a:pt x="29853" y="2440"/>
                    <a:pt x="21424" y="7104"/>
                  </a:cubicBezTo>
                  <a:lnTo>
                    <a:pt x="3606" y="16951"/>
                  </a:lnTo>
                  <a:cubicBezTo>
                    <a:pt x="-2687" y="20428"/>
                    <a:pt x="-223" y="30009"/>
                    <a:pt x="6980" y="30009"/>
                  </a:cubicBezTo>
                  <a:lnTo>
                    <a:pt x="493808" y="30009"/>
                  </a:lnTo>
                  <a:cubicBezTo>
                    <a:pt x="500998" y="30009"/>
                    <a:pt x="503474" y="20428"/>
                    <a:pt x="497181" y="16951"/>
                  </a:cubicBezTo>
                  <a:lnTo>
                    <a:pt x="479364" y="7104"/>
                  </a:lnTo>
                  <a:cubicBezTo>
                    <a:pt x="470947" y="2452"/>
                    <a:pt x="461482" y="0"/>
                    <a:pt x="451853" y="0"/>
                  </a:cubicBezTo>
                  <a:close/>
                </a:path>
              </a:pathLst>
            </a:custGeom>
            <a:solidFill>
              <a:srgbClr val="6CB4A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26" name="Grafik 5">
              <a:extLst>
                <a:ext uri="{FF2B5EF4-FFF2-40B4-BE49-F238E27FC236}">
                  <a16:creationId xmlns:a16="http://schemas.microsoft.com/office/drawing/2014/main" id="{6184D897-3BE6-598F-DB13-C641BFCC622C}"/>
                </a:ext>
              </a:extLst>
            </p:cNvPr>
            <p:cNvGrpSpPr/>
            <p:nvPr/>
          </p:nvGrpSpPr>
          <p:grpSpPr>
            <a:xfrm>
              <a:off x="10471124" y="3337377"/>
              <a:ext cx="412256" cy="274760"/>
              <a:chOff x="10471124" y="3337377"/>
              <a:chExt cx="412256" cy="274760"/>
            </a:xfrm>
          </p:grpSpPr>
          <p:sp>
            <p:nvSpPr>
              <p:cNvPr id="127" name="Freihandform 126">
                <a:extLst>
                  <a:ext uri="{FF2B5EF4-FFF2-40B4-BE49-F238E27FC236}">
                    <a16:creationId xmlns:a16="http://schemas.microsoft.com/office/drawing/2014/main" id="{1B2E5B29-3C47-8F79-1BDC-5130E23CC5E0}"/>
                  </a:ext>
                </a:extLst>
              </p:cNvPr>
              <p:cNvSpPr/>
              <p:nvPr/>
            </p:nvSpPr>
            <p:spPr>
              <a:xfrm>
                <a:off x="10484128" y="3393970"/>
                <a:ext cx="386249" cy="218167"/>
              </a:xfrm>
              <a:custGeom>
                <a:avLst/>
                <a:gdLst>
                  <a:gd name="connsiteX0" fmla="*/ 0 w 386249"/>
                  <a:gd name="connsiteY0" fmla="*/ 0 h 218167"/>
                  <a:gd name="connsiteX1" fmla="*/ 386250 w 386249"/>
                  <a:gd name="connsiteY1" fmla="*/ 0 h 218167"/>
                  <a:gd name="connsiteX2" fmla="*/ 386250 w 386249"/>
                  <a:gd name="connsiteY2" fmla="*/ 218168 h 218167"/>
                  <a:gd name="connsiteX3" fmla="*/ 0 w 386249"/>
                  <a:gd name="connsiteY3" fmla="*/ 218168 h 218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249" h="218167">
                    <a:moveTo>
                      <a:pt x="0" y="0"/>
                    </a:moveTo>
                    <a:lnTo>
                      <a:pt x="386250" y="0"/>
                    </a:lnTo>
                    <a:lnTo>
                      <a:pt x="386250" y="218168"/>
                    </a:lnTo>
                    <a:lnTo>
                      <a:pt x="0" y="218168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8" name="Freihandform 127">
                <a:extLst>
                  <a:ext uri="{FF2B5EF4-FFF2-40B4-BE49-F238E27FC236}">
                    <a16:creationId xmlns:a16="http://schemas.microsoft.com/office/drawing/2014/main" id="{83370E75-813B-7076-7A65-C43922F4F862}"/>
                  </a:ext>
                </a:extLst>
              </p:cNvPr>
              <p:cNvSpPr/>
              <p:nvPr/>
            </p:nvSpPr>
            <p:spPr>
              <a:xfrm>
                <a:off x="10471124" y="3337377"/>
                <a:ext cx="412256" cy="81798"/>
              </a:xfrm>
              <a:custGeom>
                <a:avLst/>
                <a:gdLst>
                  <a:gd name="connsiteX0" fmla="*/ 402413 w 412256"/>
                  <a:gd name="connsiteY0" fmla="*/ 0 h 81798"/>
                  <a:gd name="connsiteX1" fmla="*/ 412257 w 412256"/>
                  <a:gd name="connsiteY1" fmla="*/ 9847 h 81798"/>
                  <a:gd name="connsiteX2" fmla="*/ 412257 w 412256"/>
                  <a:gd name="connsiteY2" fmla="*/ 71952 h 81798"/>
                  <a:gd name="connsiteX3" fmla="*/ 402413 w 412256"/>
                  <a:gd name="connsiteY3" fmla="*/ 81799 h 81798"/>
                  <a:gd name="connsiteX4" fmla="*/ 9845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5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3" y="0"/>
                    </a:moveTo>
                    <a:cubicBezTo>
                      <a:pt x="407850" y="0"/>
                      <a:pt x="412257" y="4409"/>
                      <a:pt x="412257" y="9847"/>
                    </a:cubicBezTo>
                    <a:lnTo>
                      <a:pt x="412257" y="71952"/>
                    </a:lnTo>
                    <a:cubicBezTo>
                      <a:pt x="412257" y="77390"/>
                      <a:pt x="407850" y="81799"/>
                      <a:pt x="402413" y="81799"/>
                    </a:cubicBezTo>
                    <a:lnTo>
                      <a:pt x="9845" y="81799"/>
                    </a:lnTo>
                    <a:cubicBezTo>
                      <a:pt x="4408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8" y="0"/>
                      <a:pt x="9845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9" name="Freihandform 128">
                <a:extLst>
                  <a:ext uri="{FF2B5EF4-FFF2-40B4-BE49-F238E27FC236}">
                    <a16:creationId xmlns:a16="http://schemas.microsoft.com/office/drawing/2014/main" id="{24F2EDED-1EC9-70CE-C18B-8EE4D2F2092F}"/>
                  </a:ext>
                </a:extLst>
              </p:cNvPr>
              <p:cNvSpPr/>
              <p:nvPr/>
            </p:nvSpPr>
            <p:spPr>
              <a:xfrm>
                <a:off x="10471124" y="3433852"/>
                <a:ext cx="412256" cy="81798"/>
              </a:xfrm>
              <a:custGeom>
                <a:avLst/>
                <a:gdLst>
                  <a:gd name="connsiteX0" fmla="*/ 402413 w 412256"/>
                  <a:gd name="connsiteY0" fmla="*/ 0 h 81798"/>
                  <a:gd name="connsiteX1" fmla="*/ 412257 w 412256"/>
                  <a:gd name="connsiteY1" fmla="*/ 9847 h 81798"/>
                  <a:gd name="connsiteX2" fmla="*/ 412257 w 412256"/>
                  <a:gd name="connsiteY2" fmla="*/ 71952 h 81798"/>
                  <a:gd name="connsiteX3" fmla="*/ 402413 w 412256"/>
                  <a:gd name="connsiteY3" fmla="*/ 81799 h 81798"/>
                  <a:gd name="connsiteX4" fmla="*/ 9845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5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3" y="0"/>
                    </a:moveTo>
                    <a:cubicBezTo>
                      <a:pt x="407850" y="0"/>
                      <a:pt x="412257" y="4409"/>
                      <a:pt x="412257" y="9847"/>
                    </a:cubicBezTo>
                    <a:lnTo>
                      <a:pt x="412257" y="71952"/>
                    </a:lnTo>
                    <a:cubicBezTo>
                      <a:pt x="412257" y="77390"/>
                      <a:pt x="407850" y="81799"/>
                      <a:pt x="402413" y="81799"/>
                    </a:cubicBezTo>
                    <a:lnTo>
                      <a:pt x="9845" y="81799"/>
                    </a:lnTo>
                    <a:cubicBezTo>
                      <a:pt x="4408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8" y="0"/>
                      <a:pt x="9845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0" name="Freihandform 129">
                <a:extLst>
                  <a:ext uri="{FF2B5EF4-FFF2-40B4-BE49-F238E27FC236}">
                    <a16:creationId xmlns:a16="http://schemas.microsoft.com/office/drawing/2014/main" id="{22B59977-40F8-6078-477E-FC87D60538BE}"/>
                  </a:ext>
                </a:extLst>
              </p:cNvPr>
              <p:cNvSpPr/>
              <p:nvPr/>
            </p:nvSpPr>
            <p:spPr>
              <a:xfrm>
                <a:off x="10471124" y="3530340"/>
                <a:ext cx="412256" cy="81798"/>
              </a:xfrm>
              <a:custGeom>
                <a:avLst/>
                <a:gdLst>
                  <a:gd name="connsiteX0" fmla="*/ 402413 w 412256"/>
                  <a:gd name="connsiteY0" fmla="*/ 0 h 81798"/>
                  <a:gd name="connsiteX1" fmla="*/ 412257 w 412256"/>
                  <a:gd name="connsiteY1" fmla="*/ 9847 h 81798"/>
                  <a:gd name="connsiteX2" fmla="*/ 412257 w 412256"/>
                  <a:gd name="connsiteY2" fmla="*/ 71952 h 81798"/>
                  <a:gd name="connsiteX3" fmla="*/ 402413 w 412256"/>
                  <a:gd name="connsiteY3" fmla="*/ 81799 h 81798"/>
                  <a:gd name="connsiteX4" fmla="*/ 9845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5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3" y="0"/>
                    </a:moveTo>
                    <a:cubicBezTo>
                      <a:pt x="407850" y="0"/>
                      <a:pt x="412257" y="4409"/>
                      <a:pt x="412257" y="9847"/>
                    </a:cubicBezTo>
                    <a:lnTo>
                      <a:pt x="412257" y="71952"/>
                    </a:lnTo>
                    <a:cubicBezTo>
                      <a:pt x="412257" y="77390"/>
                      <a:pt x="407850" y="81799"/>
                      <a:pt x="402413" y="81799"/>
                    </a:cubicBezTo>
                    <a:lnTo>
                      <a:pt x="9845" y="81799"/>
                    </a:lnTo>
                    <a:cubicBezTo>
                      <a:pt x="4408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8" y="0"/>
                      <a:pt x="9845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31" name="Grafik 5">
                <a:extLst>
                  <a:ext uri="{FF2B5EF4-FFF2-40B4-BE49-F238E27FC236}">
                    <a16:creationId xmlns:a16="http://schemas.microsoft.com/office/drawing/2014/main" id="{CFD48116-59F7-E820-1598-6C639099FCD4}"/>
                  </a:ext>
                </a:extLst>
              </p:cNvPr>
              <p:cNvGrpSpPr/>
              <p:nvPr/>
            </p:nvGrpSpPr>
            <p:grpSpPr>
              <a:xfrm>
                <a:off x="10757378" y="3337377"/>
                <a:ext cx="126003" cy="274748"/>
                <a:chOff x="10757378" y="3337377"/>
                <a:chExt cx="126003" cy="274748"/>
              </a:xfrm>
              <a:solidFill>
                <a:srgbClr val="08665C"/>
              </a:solidFill>
            </p:grpSpPr>
            <p:sp>
              <p:nvSpPr>
                <p:cNvPr id="132" name="Freihandform 131">
                  <a:extLst>
                    <a:ext uri="{FF2B5EF4-FFF2-40B4-BE49-F238E27FC236}">
                      <a16:creationId xmlns:a16="http://schemas.microsoft.com/office/drawing/2014/main" id="{DE55807C-B16F-4A59-6910-908AD21CAFAA}"/>
                    </a:ext>
                  </a:extLst>
                </p:cNvPr>
                <p:cNvSpPr/>
                <p:nvPr/>
              </p:nvSpPr>
              <p:spPr>
                <a:xfrm>
                  <a:off x="10757378" y="3337377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Freihandform 132">
                  <a:extLst>
                    <a:ext uri="{FF2B5EF4-FFF2-40B4-BE49-F238E27FC236}">
                      <a16:creationId xmlns:a16="http://schemas.microsoft.com/office/drawing/2014/main" id="{F8FE7060-9FBE-9EE5-D906-AB6093891702}"/>
                    </a:ext>
                  </a:extLst>
                </p:cNvPr>
                <p:cNvSpPr/>
                <p:nvPr/>
              </p:nvSpPr>
              <p:spPr>
                <a:xfrm>
                  <a:off x="10757378" y="3433852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Freihandform 133">
                  <a:extLst>
                    <a:ext uri="{FF2B5EF4-FFF2-40B4-BE49-F238E27FC236}">
                      <a16:creationId xmlns:a16="http://schemas.microsoft.com/office/drawing/2014/main" id="{99FCD204-7BB7-40A8-ACF5-92F610FE4288}"/>
                    </a:ext>
                  </a:extLst>
                </p:cNvPr>
                <p:cNvSpPr/>
                <p:nvPr/>
              </p:nvSpPr>
              <p:spPr>
                <a:xfrm>
                  <a:off x="10757378" y="3530327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35" name="Grafik 5">
                <a:extLst>
                  <a:ext uri="{FF2B5EF4-FFF2-40B4-BE49-F238E27FC236}">
                    <a16:creationId xmlns:a16="http://schemas.microsoft.com/office/drawing/2014/main" id="{F8DD6ECF-92AA-BC38-7C20-ABF66C683438}"/>
                  </a:ext>
                </a:extLst>
              </p:cNvPr>
              <p:cNvGrpSpPr/>
              <p:nvPr/>
            </p:nvGrpSpPr>
            <p:grpSpPr>
              <a:xfrm>
                <a:off x="10488525" y="3563623"/>
                <a:ext cx="377441" cy="15219"/>
                <a:chOff x="10488525" y="3563623"/>
                <a:chExt cx="377441" cy="15219"/>
              </a:xfrm>
            </p:grpSpPr>
            <p:grpSp>
              <p:nvGrpSpPr>
                <p:cNvPr id="136" name="Grafik 5">
                  <a:extLst>
                    <a:ext uri="{FF2B5EF4-FFF2-40B4-BE49-F238E27FC236}">
                      <a16:creationId xmlns:a16="http://schemas.microsoft.com/office/drawing/2014/main" id="{AD04696C-5D57-A2E7-1B38-E912B1098BFA}"/>
                    </a:ext>
                  </a:extLst>
                </p:cNvPr>
                <p:cNvGrpSpPr/>
                <p:nvPr/>
              </p:nvGrpSpPr>
              <p:grpSpPr>
                <a:xfrm>
                  <a:off x="10488525" y="3564634"/>
                  <a:ext cx="99124" cy="13197"/>
                  <a:chOff x="10488525" y="3564634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137" name="Freihandform 136">
                    <a:extLst>
                      <a:ext uri="{FF2B5EF4-FFF2-40B4-BE49-F238E27FC236}">
                        <a16:creationId xmlns:a16="http://schemas.microsoft.com/office/drawing/2014/main" id="{4F15E0F3-1A7C-DA1A-5E3D-7C143E88C68A}"/>
                      </a:ext>
                    </a:extLst>
                  </p:cNvPr>
                  <p:cNvSpPr/>
                  <p:nvPr/>
                </p:nvSpPr>
                <p:spPr>
                  <a:xfrm>
                    <a:off x="10488525" y="356463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8" name="Freihandform 137">
                    <a:extLst>
                      <a:ext uri="{FF2B5EF4-FFF2-40B4-BE49-F238E27FC236}">
                        <a16:creationId xmlns:a16="http://schemas.microsoft.com/office/drawing/2014/main" id="{E20BFC73-AA10-532E-3DA1-82B872757DA6}"/>
                      </a:ext>
                    </a:extLst>
                  </p:cNvPr>
                  <p:cNvSpPr/>
                  <p:nvPr/>
                </p:nvSpPr>
                <p:spPr>
                  <a:xfrm>
                    <a:off x="10517174" y="356463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9" name="Freihandform 138">
                    <a:extLst>
                      <a:ext uri="{FF2B5EF4-FFF2-40B4-BE49-F238E27FC236}">
                        <a16:creationId xmlns:a16="http://schemas.microsoft.com/office/drawing/2014/main" id="{8A995C20-FAB6-8304-027F-0F38EBF3CC61}"/>
                      </a:ext>
                    </a:extLst>
                  </p:cNvPr>
                  <p:cNvSpPr/>
                  <p:nvPr/>
                </p:nvSpPr>
                <p:spPr>
                  <a:xfrm>
                    <a:off x="10545822" y="356463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0" name="Freihandform 139">
                    <a:extLst>
                      <a:ext uri="{FF2B5EF4-FFF2-40B4-BE49-F238E27FC236}">
                        <a16:creationId xmlns:a16="http://schemas.microsoft.com/office/drawing/2014/main" id="{2829C834-18EF-C115-0DDA-EB0F6C3056C8}"/>
                      </a:ext>
                    </a:extLst>
                  </p:cNvPr>
                  <p:cNvSpPr/>
                  <p:nvPr/>
                </p:nvSpPr>
                <p:spPr>
                  <a:xfrm>
                    <a:off x="10574457" y="356463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41" name="Freihandform 140">
                  <a:extLst>
                    <a:ext uri="{FF2B5EF4-FFF2-40B4-BE49-F238E27FC236}">
                      <a16:creationId xmlns:a16="http://schemas.microsoft.com/office/drawing/2014/main" id="{38831ECC-3FAE-9080-7F92-8C7E32527122}"/>
                    </a:ext>
                  </a:extLst>
                </p:cNvPr>
                <p:cNvSpPr/>
                <p:nvPr/>
              </p:nvSpPr>
              <p:spPr>
                <a:xfrm>
                  <a:off x="10821586" y="3563623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7" y="15220"/>
                      </a:cubicBezTo>
                      <a:cubicBezTo>
                        <a:pt x="3406" y="15220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2" name="Freihandform 141">
                  <a:extLst>
                    <a:ext uri="{FF2B5EF4-FFF2-40B4-BE49-F238E27FC236}">
                      <a16:creationId xmlns:a16="http://schemas.microsoft.com/office/drawing/2014/main" id="{D9BBA849-E273-F4F6-BB74-E377E68103B0}"/>
                    </a:ext>
                  </a:extLst>
                </p:cNvPr>
                <p:cNvSpPr/>
                <p:nvPr/>
              </p:nvSpPr>
              <p:spPr>
                <a:xfrm>
                  <a:off x="10850752" y="3563623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1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8" y="15220"/>
                      </a:cubicBezTo>
                      <a:cubicBezTo>
                        <a:pt x="3407" y="15220"/>
                        <a:pt x="1" y="11812"/>
                        <a:pt x="1" y="7610"/>
                      </a:cubicBezTo>
                      <a:cubicBezTo>
                        <a:pt x="1" y="3407"/>
                        <a:pt x="3407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3" name="Grafik 5">
                <a:extLst>
                  <a:ext uri="{FF2B5EF4-FFF2-40B4-BE49-F238E27FC236}">
                    <a16:creationId xmlns:a16="http://schemas.microsoft.com/office/drawing/2014/main" id="{EA98217E-B135-7A9E-ADAF-1A08B6F25132}"/>
                  </a:ext>
                </a:extLst>
              </p:cNvPr>
              <p:cNvGrpSpPr/>
              <p:nvPr/>
            </p:nvGrpSpPr>
            <p:grpSpPr>
              <a:xfrm>
                <a:off x="10488525" y="3467148"/>
                <a:ext cx="377441" cy="15219"/>
                <a:chOff x="10488525" y="3467148"/>
                <a:chExt cx="377441" cy="15219"/>
              </a:xfrm>
            </p:grpSpPr>
            <p:grpSp>
              <p:nvGrpSpPr>
                <p:cNvPr id="144" name="Grafik 5">
                  <a:extLst>
                    <a:ext uri="{FF2B5EF4-FFF2-40B4-BE49-F238E27FC236}">
                      <a16:creationId xmlns:a16="http://schemas.microsoft.com/office/drawing/2014/main" id="{2DA40669-EE25-3A48-490F-03F94D68A1E3}"/>
                    </a:ext>
                  </a:extLst>
                </p:cNvPr>
                <p:cNvGrpSpPr/>
                <p:nvPr/>
              </p:nvGrpSpPr>
              <p:grpSpPr>
                <a:xfrm>
                  <a:off x="10488525" y="3468159"/>
                  <a:ext cx="99124" cy="13197"/>
                  <a:chOff x="10488525" y="3468159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145" name="Freihandform 144">
                    <a:extLst>
                      <a:ext uri="{FF2B5EF4-FFF2-40B4-BE49-F238E27FC236}">
                        <a16:creationId xmlns:a16="http://schemas.microsoft.com/office/drawing/2014/main" id="{E4EBB8CF-1F75-0642-A02A-85B9C14485AF}"/>
                      </a:ext>
                    </a:extLst>
                  </p:cNvPr>
                  <p:cNvSpPr/>
                  <p:nvPr/>
                </p:nvSpPr>
                <p:spPr>
                  <a:xfrm>
                    <a:off x="10488525" y="3468159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6" name="Freihandform 145">
                    <a:extLst>
                      <a:ext uri="{FF2B5EF4-FFF2-40B4-BE49-F238E27FC236}">
                        <a16:creationId xmlns:a16="http://schemas.microsoft.com/office/drawing/2014/main" id="{EBD48784-1B2C-80DA-418E-C1B0BE46A5C2}"/>
                      </a:ext>
                    </a:extLst>
                  </p:cNvPr>
                  <p:cNvSpPr/>
                  <p:nvPr/>
                </p:nvSpPr>
                <p:spPr>
                  <a:xfrm>
                    <a:off x="10517174" y="3468159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7" name="Freihandform 146">
                    <a:extLst>
                      <a:ext uri="{FF2B5EF4-FFF2-40B4-BE49-F238E27FC236}">
                        <a16:creationId xmlns:a16="http://schemas.microsoft.com/office/drawing/2014/main" id="{CD91CF53-B80C-8813-2C88-CB6965F4D88A}"/>
                      </a:ext>
                    </a:extLst>
                  </p:cNvPr>
                  <p:cNvSpPr/>
                  <p:nvPr/>
                </p:nvSpPr>
                <p:spPr>
                  <a:xfrm>
                    <a:off x="10545822" y="3468159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8" name="Freihandform 147">
                    <a:extLst>
                      <a:ext uri="{FF2B5EF4-FFF2-40B4-BE49-F238E27FC236}">
                        <a16:creationId xmlns:a16="http://schemas.microsoft.com/office/drawing/2014/main" id="{19FFF9F2-6EA4-7800-F0E2-AFB70402BF13}"/>
                      </a:ext>
                    </a:extLst>
                  </p:cNvPr>
                  <p:cNvSpPr/>
                  <p:nvPr/>
                </p:nvSpPr>
                <p:spPr>
                  <a:xfrm>
                    <a:off x="10574457" y="3468159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49" name="Freihandform 148">
                  <a:extLst>
                    <a:ext uri="{FF2B5EF4-FFF2-40B4-BE49-F238E27FC236}">
                      <a16:creationId xmlns:a16="http://schemas.microsoft.com/office/drawing/2014/main" id="{70F86080-DEC8-C7E3-7EDC-E72B1C641595}"/>
                    </a:ext>
                  </a:extLst>
                </p:cNvPr>
                <p:cNvSpPr/>
                <p:nvPr/>
              </p:nvSpPr>
              <p:spPr>
                <a:xfrm>
                  <a:off x="10821586" y="3467148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7" y="15220"/>
                      </a:cubicBezTo>
                      <a:cubicBezTo>
                        <a:pt x="3406" y="15220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0" name="Freihandform 149">
                  <a:extLst>
                    <a:ext uri="{FF2B5EF4-FFF2-40B4-BE49-F238E27FC236}">
                      <a16:creationId xmlns:a16="http://schemas.microsoft.com/office/drawing/2014/main" id="{A41213A7-6F89-1863-0709-2804F4A0786F}"/>
                    </a:ext>
                  </a:extLst>
                </p:cNvPr>
                <p:cNvSpPr/>
                <p:nvPr/>
              </p:nvSpPr>
              <p:spPr>
                <a:xfrm>
                  <a:off x="10850752" y="3467148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1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8" y="15220"/>
                      </a:cubicBezTo>
                      <a:cubicBezTo>
                        <a:pt x="3407" y="15220"/>
                        <a:pt x="1" y="11812"/>
                        <a:pt x="1" y="7610"/>
                      </a:cubicBezTo>
                      <a:cubicBezTo>
                        <a:pt x="1" y="3407"/>
                        <a:pt x="3407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51" name="Grafik 5">
                <a:extLst>
                  <a:ext uri="{FF2B5EF4-FFF2-40B4-BE49-F238E27FC236}">
                    <a16:creationId xmlns:a16="http://schemas.microsoft.com/office/drawing/2014/main" id="{6CDB9391-6EAB-12E3-EA42-12C9C9221F34}"/>
                  </a:ext>
                </a:extLst>
              </p:cNvPr>
              <p:cNvGrpSpPr/>
              <p:nvPr/>
            </p:nvGrpSpPr>
            <p:grpSpPr>
              <a:xfrm>
                <a:off x="10488525" y="3370673"/>
                <a:ext cx="377441" cy="15219"/>
                <a:chOff x="10488525" y="3370673"/>
                <a:chExt cx="377441" cy="15219"/>
              </a:xfrm>
            </p:grpSpPr>
            <p:grpSp>
              <p:nvGrpSpPr>
                <p:cNvPr id="152" name="Grafik 5">
                  <a:extLst>
                    <a:ext uri="{FF2B5EF4-FFF2-40B4-BE49-F238E27FC236}">
                      <a16:creationId xmlns:a16="http://schemas.microsoft.com/office/drawing/2014/main" id="{CE07EA73-7670-F114-2AAA-72686BF2A6F5}"/>
                    </a:ext>
                  </a:extLst>
                </p:cNvPr>
                <p:cNvGrpSpPr/>
                <p:nvPr/>
              </p:nvGrpSpPr>
              <p:grpSpPr>
                <a:xfrm>
                  <a:off x="10488525" y="3371685"/>
                  <a:ext cx="99124" cy="13197"/>
                  <a:chOff x="10488525" y="3371685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153" name="Freihandform 152">
                    <a:extLst>
                      <a:ext uri="{FF2B5EF4-FFF2-40B4-BE49-F238E27FC236}">
                        <a16:creationId xmlns:a16="http://schemas.microsoft.com/office/drawing/2014/main" id="{40D1E502-2F38-5801-2B0D-571C79A6B411}"/>
                      </a:ext>
                    </a:extLst>
                  </p:cNvPr>
                  <p:cNvSpPr/>
                  <p:nvPr/>
                </p:nvSpPr>
                <p:spPr>
                  <a:xfrm>
                    <a:off x="10488525" y="3371685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4" name="Freihandform 153">
                    <a:extLst>
                      <a:ext uri="{FF2B5EF4-FFF2-40B4-BE49-F238E27FC236}">
                        <a16:creationId xmlns:a16="http://schemas.microsoft.com/office/drawing/2014/main" id="{1832B1B1-3056-DDD8-F511-A5055A053499}"/>
                      </a:ext>
                    </a:extLst>
                  </p:cNvPr>
                  <p:cNvSpPr/>
                  <p:nvPr/>
                </p:nvSpPr>
                <p:spPr>
                  <a:xfrm>
                    <a:off x="10517174" y="3371685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5" name="Freihandform 154">
                    <a:extLst>
                      <a:ext uri="{FF2B5EF4-FFF2-40B4-BE49-F238E27FC236}">
                        <a16:creationId xmlns:a16="http://schemas.microsoft.com/office/drawing/2014/main" id="{E86C6A54-02B9-8B14-E6F3-498DE1362ECB}"/>
                      </a:ext>
                    </a:extLst>
                  </p:cNvPr>
                  <p:cNvSpPr/>
                  <p:nvPr/>
                </p:nvSpPr>
                <p:spPr>
                  <a:xfrm>
                    <a:off x="10545822" y="3371685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6" name="Freihandform 155">
                    <a:extLst>
                      <a:ext uri="{FF2B5EF4-FFF2-40B4-BE49-F238E27FC236}">
                        <a16:creationId xmlns:a16="http://schemas.microsoft.com/office/drawing/2014/main" id="{15AD8D62-9880-F558-5E41-5799019756EF}"/>
                      </a:ext>
                    </a:extLst>
                  </p:cNvPr>
                  <p:cNvSpPr/>
                  <p:nvPr/>
                </p:nvSpPr>
                <p:spPr>
                  <a:xfrm>
                    <a:off x="10574457" y="3371685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57" name="Freihandform 156">
                  <a:extLst>
                    <a:ext uri="{FF2B5EF4-FFF2-40B4-BE49-F238E27FC236}">
                      <a16:creationId xmlns:a16="http://schemas.microsoft.com/office/drawing/2014/main" id="{5DC7C82F-1347-2CD5-72F3-6067F5E06027}"/>
                    </a:ext>
                  </a:extLst>
                </p:cNvPr>
                <p:cNvSpPr/>
                <p:nvPr/>
              </p:nvSpPr>
              <p:spPr>
                <a:xfrm>
                  <a:off x="10821586" y="3370673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7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8" name="Freihandform 157">
                  <a:extLst>
                    <a:ext uri="{FF2B5EF4-FFF2-40B4-BE49-F238E27FC236}">
                      <a16:creationId xmlns:a16="http://schemas.microsoft.com/office/drawing/2014/main" id="{F1926EB2-53CD-C8DA-B3D8-0FA2DB08B007}"/>
                    </a:ext>
                  </a:extLst>
                </p:cNvPr>
                <p:cNvSpPr/>
                <p:nvPr/>
              </p:nvSpPr>
              <p:spPr>
                <a:xfrm>
                  <a:off x="10850752" y="3370673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1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7" y="15220"/>
                        <a:pt x="1" y="11813"/>
                        <a:pt x="1" y="7610"/>
                      </a:cubicBezTo>
                      <a:cubicBezTo>
                        <a:pt x="1" y="3407"/>
                        <a:pt x="3407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59" name="Grafik 5">
            <a:extLst>
              <a:ext uri="{FF2B5EF4-FFF2-40B4-BE49-F238E27FC236}">
                <a16:creationId xmlns:a16="http://schemas.microsoft.com/office/drawing/2014/main" id="{57B6D75C-BCE1-30B1-2541-AF22C97B2281}"/>
              </a:ext>
            </a:extLst>
          </p:cNvPr>
          <p:cNvGrpSpPr/>
          <p:nvPr/>
        </p:nvGrpSpPr>
        <p:grpSpPr>
          <a:xfrm>
            <a:off x="8245232" y="3047233"/>
            <a:ext cx="500867" cy="391663"/>
            <a:chOff x="8245232" y="3047233"/>
            <a:chExt cx="500867" cy="391663"/>
          </a:xfrm>
        </p:grpSpPr>
        <p:sp>
          <p:nvSpPr>
            <p:cNvPr id="160" name="Freihandform 159">
              <a:extLst>
                <a:ext uri="{FF2B5EF4-FFF2-40B4-BE49-F238E27FC236}">
                  <a16:creationId xmlns:a16="http://schemas.microsoft.com/office/drawing/2014/main" id="{B2B0CC53-8F87-38CC-4FF8-1969B22F05B2}"/>
                </a:ext>
              </a:extLst>
            </p:cNvPr>
            <p:cNvSpPr/>
            <p:nvPr/>
          </p:nvSpPr>
          <p:spPr>
            <a:xfrm>
              <a:off x="8263783" y="3411099"/>
              <a:ext cx="463803" cy="27797"/>
            </a:xfrm>
            <a:custGeom>
              <a:avLst/>
              <a:gdLst>
                <a:gd name="connsiteX0" fmla="*/ 418487 w 463803"/>
                <a:gd name="connsiteY0" fmla="*/ 0 h 27797"/>
                <a:gd name="connsiteX1" fmla="*/ 45304 w 463803"/>
                <a:gd name="connsiteY1" fmla="*/ 0 h 27797"/>
                <a:gd name="connsiteX2" fmla="*/ 19828 w 463803"/>
                <a:gd name="connsiteY2" fmla="*/ 6573 h 27797"/>
                <a:gd name="connsiteX3" fmla="*/ 3336 w 463803"/>
                <a:gd name="connsiteY3" fmla="*/ 15700 h 27797"/>
                <a:gd name="connsiteX4" fmla="*/ 6458 w 463803"/>
                <a:gd name="connsiteY4" fmla="*/ 27797 h 27797"/>
                <a:gd name="connsiteX5" fmla="*/ 457346 w 463803"/>
                <a:gd name="connsiteY5" fmla="*/ 27797 h 27797"/>
                <a:gd name="connsiteX6" fmla="*/ 460467 w 463803"/>
                <a:gd name="connsiteY6" fmla="*/ 15700 h 27797"/>
                <a:gd name="connsiteX7" fmla="*/ 443976 w 463803"/>
                <a:gd name="connsiteY7" fmla="*/ 6573 h 27797"/>
                <a:gd name="connsiteX8" fmla="*/ 418500 w 463803"/>
                <a:gd name="connsiteY8" fmla="*/ 0 h 2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3803" h="27797">
                  <a:moveTo>
                    <a:pt x="418487" y="0"/>
                  </a:moveTo>
                  <a:lnTo>
                    <a:pt x="45304" y="0"/>
                  </a:lnTo>
                  <a:cubicBezTo>
                    <a:pt x="36395" y="0"/>
                    <a:pt x="27625" y="2263"/>
                    <a:pt x="19828" y="6573"/>
                  </a:cubicBezTo>
                  <a:lnTo>
                    <a:pt x="3336" y="15700"/>
                  </a:lnTo>
                  <a:cubicBezTo>
                    <a:pt x="-2489" y="18923"/>
                    <a:pt x="-202" y="27797"/>
                    <a:pt x="6458" y="27797"/>
                  </a:cubicBezTo>
                  <a:lnTo>
                    <a:pt x="457346" y="27797"/>
                  </a:lnTo>
                  <a:cubicBezTo>
                    <a:pt x="464006" y="27797"/>
                    <a:pt x="466293" y="18923"/>
                    <a:pt x="460467" y="15700"/>
                  </a:cubicBezTo>
                  <a:lnTo>
                    <a:pt x="443976" y="6573"/>
                  </a:lnTo>
                  <a:cubicBezTo>
                    <a:pt x="436179" y="2263"/>
                    <a:pt x="427409" y="0"/>
                    <a:pt x="418500" y="0"/>
                  </a:cubicBezTo>
                  <a:close/>
                </a:path>
              </a:pathLst>
            </a:custGeom>
            <a:solidFill>
              <a:srgbClr val="6CB4A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61" name="Grafik 5">
              <a:extLst>
                <a:ext uri="{FF2B5EF4-FFF2-40B4-BE49-F238E27FC236}">
                  <a16:creationId xmlns:a16="http://schemas.microsoft.com/office/drawing/2014/main" id="{3388E2A8-988C-4DE6-89F2-47A6B0099874}"/>
                </a:ext>
              </a:extLst>
            </p:cNvPr>
            <p:cNvGrpSpPr/>
            <p:nvPr/>
          </p:nvGrpSpPr>
          <p:grpSpPr>
            <a:xfrm>
              <a:off x="8245232" y="3047233"/>
              <a:ext cx="500867" cy="380855"/>
              <a:chOff x="8245232" y="3047233"/>
              <a:chExt cx="500867" cy="380855"/>
            </a:xfrm>
          </p:grpSpPr>
          <p:grpSp>
            <p:nvGrpSpPr>
              <p:cNvPr id="162" name="Grafik 5">
                <a:extLst>
                  <a:ext uri="{FF2B5EF4-FFF2-40B4-BE49-F238E27FC236}">
                    <a16:creationId xmlns:a16="http://schemas.microsoft.com/office/drawing/2014/main" id="{BFF3E757-D175-FE60-BA6F-3BE4726E222B}"/>
                  </a:ext>
                </a:extLst>
              </p:cNvPr>
              <p:cNvGrpSpPr/>
              <p:nvPr/>
            </p:nvGrpSpPr>
            <p:grpSpPr>
              <a:xfrm>
                <a:off x="8245232" y="3047233"/>
                <a:ext cx="500867" cy="380855"/>
                <a:chOff x="8245232" y="3047233"/>
                <a:chExt cx="500867" cy="380855"/>
              </a:xfrm>
            </p:grpSpPr>
            <p:sp>
              <p:nvSpPr>
                <p:cNvPr id="163" name="Freihandform 162">
                  <a:extLst>
                    <a:ext uri="{FF2B5EF4-FFF2-40B4-BE49-F238E27FC236}">
                      <a16:creationId xmlns:a16="http://schemas.microsoft.com/office/drawing/2014/main" id="{084291DE-06BC-29AF-4BAC-B02C4C018E38}"/>
                    </a:ext>
                  </a:extLst>
                </p:cNvPr>
                <p:cNvSpPr/>
                <p:nvPr/>
              </p:nvSpPr>
              <p:spPr>
                <a:xfrm>
                  <a:off x="8460668" y="3325280"/>
                  <a:ext cx="70021" cy="99622"/>
                </a:xfrm>
                <a:custGeom>
                  <a:avLst/>
                  <a:gdLst>
                    <a:gd name="connsiteX0" fmla="*/ 0 w 70021"/>
                    <a:gd name="connsiteY0" fmla="*/ 0 h 99622"/>
                    <a:gd name="connsiteX1" fmla="*/ 70022 w 70021"/>
                    <a:gd name="connsiteY1" fmla="*/ 0 h 99622"/>
                    <a:gd name="connsiteX2" fmla="*/ 70022 w 70021"/>
                    <a:gd name="connsiteY2" fmla="*/ 99622 h 99622"/>
                    <a:gd name="connsiteX3" fmla="*/ 0 w 70021"/>
                    <a:gd name="connsiteY3" fmla="*/ 99622 h 996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21" h="99622">
                      <a:moveTo>
                        <a:pt x="0" y="0"/>
                      </a:moveTo>
                      <a:lnTo>
                        <a:pt x="70022" y="0"/>
                      </a:lnTo>
                      <a:lnTo>
                        <a:pt x="70022" y="99622"/>
                      </a:lnTo>
                      <a:lnTo>
                        <a:pt x="0" y="99622"/>
                      </a:ln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4" name="Freihandform 163">
                  <a:extLst>
                    <a:ext uri="{FF2B5EF4-FFF2-40B4-BE49-F238E27FC236}">
                      <a16:creationId xmlns:a16="http://schemas.microsoft.com/office/drawing/2014/main" id="{94F11323-DA3B-0198-3A80-5D7121C23698}"/>
                    </a:ext>
                  </a:extLst>
                </p:cNvPr>
                <p:cNvSpPr/>
                <p:nvPr/>
              </p:nvSpPr>
              <p:spPr>
                <a:xfrm>
                  <a:off x="8422251" y="3417280"/>
                  <a:ext cx="146854" cy="10807"/>
                </a:xfrm>
                <a:custGeom>
                  <a:avLst/>
                  <a:gdLst>
                    <a:gd name="connsiteX0" fmla="*/ 4676 w 146854"/>
                    <a:gd name="connsiteY0" fmla="*/ 0 h 10807"/>
                    <a:gd name="connsiteX1" fmla="*/ 142166 w 146854"/>
                    <a:gd name="connsiteY1" fmla="*/ 0 h 10807"/>
                    <a:gd name="connsiteX2" fmla="*/ 146855 w 146854"/>
                    <a:gd name="connsiteY2" fmla="*/ 4690 h 10807"/>
                    <a:gd name="connsiteX3" fmla="*/ 146855 w 146854"/>
                    <a:gd name="connsiteY3" fmla="*/ 10808 h 10807"/>
                    <a:gd name="connsiteX4" fmla="*/ 0 w 146854"/>
                    <a:gd name="connsiteY4" fmla="*/ 10808 h 10807"/>
                    <a:gd name="connsiteX5" fmla="*/ 0 w 146854"/>
                    <a:gd name="connsiteY5" fmla="*/ 4690 h 10807"/>
                    <a:gd name="connsiteX6" fmla="*/ 4689 w 146854"/>
                    <a:gd name="connsiteY6" fmla="*/ 0 h 108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6854" h="10807">
                      <a:moveTo>
                        <a:pt x="4676" y="0"/>
                      </a:moveTo>
                      <a:lnTo>
                        <a:pt x="142166" y="0"/>
                      </a:lnTo>
                      <a:cubicBezTo>
                        <a:pt x="144757" y="0"/>
                        <a:pt x="146855" y="2098"/>
                        <a:pt x="146855" y="4690"/>
                      </a:cubicBezTo>
                      <a:lnTo>
                        <a:pt x="146855" y="10808"/>
                      </a:lnTo>
                      <a:lnTo>
                        <a:pt x="0" y="10808"/>
                      </a:lnTo>
                      <a:lnTo>
                        <a:pt x="0" y="4690"/>
                      </a:lnTo>
                      <a:cubicBezTo>
                        <a:pt x="0" y="2098"/>
                        <a:pt x="2098" y="0"/>
                        <a:pt x="4689" y="0"/>
                      </a:cubicBezTo>
                      <a:close/>
                    </a:path>
                  </a:pathLst>
                </a:custGeom>
                <a:solidFill>
                  <a:srgbClr val="3B9B9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5" name="Freihandform 164">
                  <a:extLst>
                    <a:ext uri="{FF2B5EF4-FFF2-40B4-BE49-F238E27FC236}">
                      <a16:creationId xmlns:a16="http://schemas.microsoft.com/office/drawing/2014/main" id="{1170DAD0-56FD-2083-6B21-D89B4903C11D}"/>
                    </a:ext>
                  </a:extLst>
                </p:cNvPr>
                <p:cNvSpPr/>
                <p:nvPr/>
              </p:nvSpPr>
              <p:spPr>
                <a:xfrm>
                  <a:off x="8245232" y="3047233"/>
                  <a:ext cx="500867" cy="285884"/>
                </a:xfrm>
                <a:custGeom>
                  <a:avLst/>
                  <a:gdLst>
                    <a:gd name="connsiteX0" fmla="*/ 494005 w 500867"/>
                    <a:gd name="connsiteY0" fmla="*/ 0 h 285884"/>
                    <a:gd name="connsiteX1" fmla="*/ 500868 w 500867"/>
                    <a:gd name="connsiteY1" fmla="*/ 6864 h 285884"/>
                    <a:gd name="connsiteX2" fmla="*/ 500868 w 500867"/>
                    <a:gd name="connsiteY2" fmla="*/ 279021 h 285884"/>
                    <a:gd name="connsiteX3" fmla="*/ 494005 w 500867"/>
                    <a:gd name="connsiteY3" fmla="*/ 285885 h 285884"/>
                    <a:gd name="connsiteX4" fmla="*/ 6862 w 500867"/>
                    <a:gd name="connsiteY4" fmla="*/ 285885 h 285884"/>
                    <a:gd name="connsiteX5" fmla="*/ 0 w 500867"/>
                    <a:gd name="connsiteY5" fmla="*/ 279021 h 285884"/>
                    <a:gd name="connsiteX6" fmla="*/ 0 w 500867"/>
                    <a:gd name="connsiteY6" fmla="*/ 6864 h 285884"/>
                    <a:gd name="connsiteX7" fmla="*/ 6862 w 500867"/>
                    <a:gd name="connsiteY7" fmla="*/ 0 h 285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0867" h="285884">
                      <a:moveTo>
                        <a:pt x="494005" y="0"/>
                      </a:moveTo>
                      <a:cubicBezTo>
                        <a:pt x="497795" y="0"/>
                        <a:pt x="500868" y="3073"/>
                        <a:pt x="500868" y="6864"/>
                      </a:cubicBezTo>
                      <a:lnTo>
                        <a:pt x="500868" y="279021"/>
                      </a:lnTo>
                      <a:cubicBezTo>
                        <a:pt x="500868" y="282812"/>
                        <a:pt x="497796" y="285885"/>
                        <a:pt x="494005" y="285885"/>
                      </a:cubicBezTo>
                      <a:lnTo>
                        <a:pt x="6862" y="285885"/>
                      </a:lnTo>
                      <a:cubicBezTo>
                        <a:pt x="3073" y="285885"/>
                        <a:pt x="0" y="282812"/>
                        <a:pt x="0" y="279021"/>
                      </a:cubicBezTo>
                      <a:lnTo>
                        <a:pt x="0" y="6864"/>
                      </a:lnTo>
                      <a:cubicBezTo>
                        <a:pt x="0" y="3073"/>
                        <a:pt x="3072" y="0"/>
                        <a:pt x="6862" y="0"/>
                      </a:cubicBez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Freihandform 165">
                  <a:extLst>
                    <a:ext uri="{FF2B5EF4-FFF2-40B4-BE49-F238E27FC236}">
                      <a16:creationId xmlns:a16="http://schemas.microsoft.com/office/drawing/2014/main" id="{403FF4B7-3513-E8BD-D9D4-002BC07C5FF2}"/>
                    </a:ext>
                  </a:extLst>
                </p:cNvPr>
                <p:cNvSpPr/>
                <p:nvPr/>
              </p:nvSpPr>
              <p:spPr>
                <a:xfrm rot="5400000">
                  <a:off x="8372171" y="2943553"/>
                  <a:ext cx="246989" cy="477734"/>
                </a:xfrm>
                <a:custGeom>
                  <a:avLst/>
                  <a:gdLst>
                    <a:gd name="connsiteX0" fmla="*/ 0 w 246989"/>
                    <a:gd name="connsiteY0" fmla="*/ 0 h 477734"/>
                    <a:gd name="connsiteX1" fmla="*/ 246990 w 246989"/>
                    <a:gd name="connsiteY1" fmla="*/ 0 h 477734"/>
                    <a:gd name="connsiteX2" fmla="*/ 246990 w 246989"/>
                    <a:gd name="connsiteY2" fmla="*/ 477735 h 477734"/>
                    <a:gd name="connsiteX3" fmla="*/ 0 w 246989"/>
                    <a:gd name="connsiteY3" fmla="*/ 477735 h 477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6989" h="477734">
                      <a:moveTo>
                        <a:pt x="0" y="0"/>
                      </a:moveTo>
                      <a:lnTo>
                        <a:pt x="246990" y="0"/>
                      </a:lnTo>
                      <a:lnTo>
                        <a:pt x="246990" y="477735"/>
                      </a:lnTo>
                      <a:lnTo>
                        <a:pt x="0" y="477735"/>
                      </a:lnTo>
                      <a:close/>
                    </a:path>
                  </a:pathLst>
                </a:custGeom>
                <a:solidFill>
                  <a:srgbClr val="06534B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7" name="Freihandform 166">
                  <a:extLst>
                    <a:ext uri="{FF2B5EF4-FFF2-40B4-BE49-F238E27FC236}">
                      <a16:creationId xmlns:a16="http://schemas.microsoft.com/office/drawing/2014/main" id="{DA2CA04F-D94E-2135-494E-56D17C0A8F68}"/>
                    </a:ext>
                  </a:extLst>
                </p:cNvPr>
                <p:cNvSpPr/>
                <p:nvPr/>
              </p:nvSpPr>
              <p:spPr>
                <a:xfrm>
                  <a:off x="8460668" y="3333117"/>
                  <a:ext cx="70021" cy="10390"/>
                </a:xfrm>
                <a:custGeom>
                  <a:avLst/>
                  <a:gdLst>
                    <a:gd name="connsiteX0" fmla="*/ 0 w 70021"/>
                    <a:gd name="connsiteY0" fmla="*/ 0 h 10390"/>
                    <a:gd name="connsiteX1" fmla="*/ 70022 w 70021"/>
                    <a:gd name="connsiteY1" fmla="*/ 0 h 10390"/>
                    <a:gd name="connsiteX2" fmla="*/ 70022 w 70021"/>
                    <a:gd name="connsiteY2" fmla="*/ 10391 h 10390"/>
                    <a:gd name="connsiteX3" fmla="*/ 0 w 70021"/>
                    <a:gd name="connsiteY3" fmla="*/ 10391 h 10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21" h="10390">
                      <a:moveTo>
                        <a:pt x="0" y="0"/>
                      </a:moveTo>
                      <a:lnTo>
                        <a:pt x="70022" y="0"/>
                      </a:lnTo>
                      <a:lnTo>
                        <a:pt x="70022" y="10391"/>
                      </a:lnTo>
                      <a:lnTo>
                        <a:pt x="0" y="10391"/>
                      </a:lnTo>
                      <a:close/>
                    </a:path>
                  </a:pathLst>
                </a:custGeom>
                <a:solidFill>
                  <a:srgbClr val="3B9B9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8" name="Freihandform 167">
                <a:extLst>
                  <a:ext uri="{FF2B5EF4-FFF2-40B4-BE49-F238E27FC236}">
                    <a16:creationId xmlns:a16="http://schemas.microsoft.com/office/drawing/2014/main" id="{86F967A6-2E20-6602-67C9-1CA2D8313C43}"/>
                  </a:ext>
                </a:extLst>
              </p:cNvPr>
              <p:cNvSpPr/>
              <p:nvPr/>
            </p:nvSpPr>
            <p:spPr>
              <a:xfrm>
                <a:off x="8256883" y="3058875"/>
                <a:ext cx="370074" cy="247064"/>
              </a:xfrm>
              <a:custGeom>
                <a:avLst/>
                <a:gdLst>
                  <a:gd name="connsiteX0" fmla="*/ 173165 w 370074"/>
                  <a:gd name="connsiteY0" fmla="*/ 247065 h 247064"/>
                  <a:gd name="connsiteX1" fmla="*/ 0 w 370074"/>
                  <a:gd name="connsiteY1" fmla="*/ 247065 h 247064"/>
                  <a:gd name="connsiteX2" fmla="*/ 0 w 370074"/>
                  <a:gd name="connsiteY2" fmla="*/ 0 h 247064"/>
                  <a:gd name="connsiteX3" fmla="*/ 370075 w 370074"/>
                  <a:gd name="connsiteY3" fmla="*/ 0 h 247064"/>
                  <a:gd name="connsiteX4" fmla="*/ 173165 w 370074"/>
                  <a:gd name="connsiteY4" fmla="*/ 247065 h 247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0074" h="247064">
                    <a:moveTo>
                      <a:pt x="173165" y="247065"/>
                    </a:moveTo>
                    <a:lnTo>
                      <a:pt x="0" y="247065"/>
                    </a:lnTo>
                    <a:lnTo>
                      <a:pt x="0" y="0"/>
                    </a:lnTo>
                    <a:lnTo>
                      <a:pt x="370075" y="0"/>
                    </a:lnTo>
                    <a:lnTo>
                      <a:pt x="173165" y="247065"/>
                    </a:ln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69" name="Grafik 5">
            <a:extLst>
              <a:ext uri="{FF2B5EF4-FFF2-40B4-BE49-F238E27FC236}">
                <a16:creationId xmlns:a16="http://schemas.microsoft.com/office/drawing/2014/main" id="{F22629A5-E1E5-89F5-5B88-0DF0FD0ACA4D}"/>
              </a:ext>
            </a:extLst>
          </p:cNvPr>
          <p:cNvGrpSpPr/>
          <p:nvPr/>
        </p:nvGrpSpPr>
        <p:grpSpPr>
          <a:xfrm>
            <a:off x="9700116" y="3231283"/>
            <a:ext cx="500867" cy="391663"/>
            <a:chOff x="9700116" y="3231283"/>
            <a:chExt cx="500867" cy="391663"/>
          </a:xfrm>
        </p:grpSpPr>
        <p:sp>
          <p:nvSpPr>
            <p:cNvPr id="170" name="Freihandform 169">
              <a:extLst>
                <a:ext uri="{FF2B5EF4-FFF2-40B4-BE49-F238E27FC236}">
                  <a16:creationId xmlns:a16="http://schemas.microsoft.com/office/drawing/2014/main" id="{712E9836-D353-08DA-7778-DAB8EE7073C4}"/>
                </a:ext>
              </a:extLst>
            </p:cNvPr>
            <p:cNvSpPr/>
            <p:nvPr/>
          </p:nvSpPr>
          <p:spPr>
            <a:xfrm>
              <a:off x="9718655" y="3595149"/>
              <a:ext cx="463803" cy="27797"/>
            </a:xfrm>
            <a:custGeom>
              <a:avLst/>
              <a:gdLst>
                <a:gd name="connsiteX0" fmla="*/ 418487 w 463803"/>
                <a:gd name="connsiteY0" fmla="*/ 0 h 27797"/>
                <a:gd name="connsiteX1" fmla="*/ 45304 w 463803"/>
                <a:gd name="connsiteY1" fmla="*/ 0 h 27797"/>
                <a:gd name="connsiteX2" fmla="*/ 19828 w 463803"/>
                <a:gd name="connsiteY2" fmla="*/ 6573 h 27797"/>
                <a:gd name="connsiteX3" fmla="*/ 3337 w 463803"/>
                <a:gd name="connsiteY3" fmla="*/ 15700 h 27797"/>
                <a:gd name="connsiteX4" fmla="*/ 6457 w 463803"/>
                <a:gd name="connsiteY4" fmla="*/ 27797 h 27797"/>
                <a:gd name="connsiteX5" fmla="*/ 457346 w 463803"/>
                <a:gd name="connsiteY5" fmla="*/ 27797 h 27797"/>
                <a:gd name="connsiteX6" fmla="*/ 460466 w 463803"/>
                <a:gd name="connsiteY6" fmla="*/ 15700 h 27797"/>
                <a:gd name="connsiteX7" fmla="*/ 443975 w 463803"/>
                <a:gd name="connsiteY7" fmla="*/ 6573 h 27797"/>
                <a:gd name="connsiteX8" fmla="*/ 418499 w 463803"/>
                <a:gd name="connsiteY8" fmla="*/ 0 h 2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3803" h="27797">
                  <a:moveTo>
                    <a:pt x="418487" y="0"/>
                  </a:moveTo>
                  <a:lnTo>
                    <a:pt x="45304" y="0"/>
                  </a:lnTo>
                  <a:cubicBezTo>
                    <a:pt x="36395" y="0"/>
                    <a:pt x="27625" y="2263"/>
                    <a:pt x="19828" y="6573"/>
                  </a:cubicBezTo>
                  <a:lnTo>
                    <a:pt x="3337" y="15700"/>
                  </a:lnTo>
                  <a:cubicBezTo>
                    <a:pt x="-2489" y="18923"/>
                    <a:pt x="-202" y="27797"/>
                    <a:pt x="6457" y="27797"/>
                  </a:cubicBezTo>
                  <a:lnTo>
                    <a:pt x="457346" y="27797"/>
                  </a:lnTo>
                  <a:cubicBezTo>
                    <a:pt x="464005" y="27797"/>
                    <a:pt x="466292" y="18923"/>
                    <a:pt x="460466" y="15700"/>
                  </a:cubicBezTo>
                  <a:lnTo>
                    <a:pt x="443975" y="6573"/>
                  </a:lnTo>
                  <a:cubicBezTo>
                    <a:pt x="436178" y="2263"/>
                    <a:pt x="427409" y="0"/>
                    <a:pt x="418499" y="0"/>
                  </a:cubicBezTo>
                  <a:close/>
                </a:path>
              </a:pathLst>
            </a:custGeom>
            <a:solidFill>
              <a:srgbClr val="6CB4A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71" name="Grafik 5">
              <a:extLst>
                <a:ext uri="{FF2B5EF4-FFF2-40B4-BE49-F238E27FC236}">
                  <a16:creationId xmlns:a16="http://schemas.microsoft.com/office/drawing/2014/main" id="{5A08D151-0366-3257-040E-711D9ECE670B}"/>
                </a:ext>
              </a:extLst>
            </p:cNvPr>
            <p:cNvGrpSpPr/>
            <p:nvPr/>
          </p:nvGrpSpPr>
          <p:grpSpPr>
            <a:xfrm>
              <a:off x="9700116" y="3231283"/>
              <a:ext cx="500867" cy="380855"/>
              <a:chOff x="9700116" y="3231283"/>
              <a:chExt cx="500867" cy="380855"/>
            </a:xfrm>
          </p:grpSpPr>
          <p:grpSp>
            <p:nvGrpSpPr>
              <p:cNvPr id="172" name="Grafik 5">
                <a:extLst>
                  <a:ext uri="{FF2B5EF4-FFF2-40B4-BE49-F238E27FC236}">
                    <a16:creationId xmlns:a16="http://schemas.microsoft.com/office/drawing/2014/main" id="{C9086FD3-B332-29A3-9906-F48E43D05527}"/>
                  </a:ext>
                </a:extLst>
              </p:cNvPr>
              <p:cNvGrpSpPr/>
              <p:nvPr/>
            </p:nvGrpSpPr>
            <p:grpSpPr>
              <a:xfrm>
                <a:off x="9700116" y="3231283"/>
                <a:ext cx="500867" cy="380855"/>
                <a:chOff x="9700116" y="3231283"/>
                <a:chExt cx="500867" cy="380855"/>
              </a:xfrm>
            </p:grpSpPr>
            <p:sp>
              <p:nvSpPr>
                <p:cNvPr id="173" name="Freihandform 172">
                  <a:extLst>
                    <a:ext uri="{FF2B5EF4-FFF2-40B4-BE49-F238E27FC236}">
                      <a16:creationId xmlns:a16="http://schemas.microsoft.com/office/drawing/2014/main" id="{DD99C32D-2B0A-4E2D-5595-0D0ED0F0E9EC}"/>
                    </a:ext>
                  </a:extLst>
                </p:cNvPr>
                <p:cNvSpPr/>
                <p:nvPr/>
              </p:nvSpPr>
              <p:spPr>
                <a:xfrm>
                  <a:off x="9915539" y="3509330"/>
                  <a:ext cx="70021" cy="99622"/>
                </a:xfrm>
                <a:custGeom>
                  <a:avLst/>
                  <a:gdLst>
                    <a:gd name="connsiteX0" fmla="*/ 0 w 70021"/>
                    <a:gd name="connsiteY0" fmla="*/ 0 h 99622"/>
                    <a:gd name="connsiteX1" fmla="*/ 70022 w 70021"/>
                    <a:gd name="connsiteY1" fmla="*/ 0 h 99622"/>
                    <a:gd name="connsiteX2" fmla="*/ 70022 w 70021"/>
                    <a:gd name="connsiteY2" fmla="*/ 99622 h 99622"/>
                    <a:gd name="connsiteX3" fmla="*/ 0 w 70021"/>
                    <a:gd name="connsiteY3" fmla="*/ 99622 h 996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21" h="99622">
                      <a:moveTo>
                        <a:pt x="0" y="0"/>
                      </a:moveTo>
                      <a:lnTo>
                        <a:pt x="70022" y="0"/>
                      </a:lnTo>
                      <a:lnTo>
                        <a:pt x="70022" y="99622"/>
                      </a:lnTo>
                      <a:lnTo>
                        <a:pt x="0" y="99622"/>
                      </a:ln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" name="Freihandform 173">
                  <a:extLst>
                    <a:ext uri="{FF2B5EF4-FFF2-40B4-BE49-F238E27FC236}">
                      <a16:creationId xmlns:a16="http://schemas.microsoft.com/office/drawing/2014/main" id="{B1789F7A-407D-0872-D8C3-A1FBF900078F}"/>
                    </a:ext>
                  </a:extLst>
                </p:cNvPr>
                <p:cNvSpPr/>
                <p:nvPr/>
              </p:nvSpPr>
              <p:spPr>
                <a:xfrm>
                  <a:off x="9877135" y="3601330"/>
                  <a:ext cx="146854" cy="10808"/>
                </a:xfrm>
                <a:custGeom>
                  <a:avLst/>
                  <a:gdLst>
                    <a:gd name="connsiteX0" fmla="*/ 4676 w 146854"/>
                    <a:gd name="connsiteY0" fmla="*/ 0 h 10808"/>
                    <a:gd name="connsiteX1" fmla="*/ 142166 w 146854"/>
                    <a:gd name="connsiteY1" fmla="*/ 0 h 10808"/>
                    <a:gd name="connsiteX2" fmla="*/ 146854 w 146854"/>
                    <a:gd name="connsiteY2" fmla="*/ 4690 h 10808"/>
                    <a:gd name="connsiteX3" fmla="*/ 146854 w 146854"/>
                    <a:gd name="connsiteY3" fmla="*/ 10808 h 10808"/>
                    <a:gd name="connsiteX4" fmla="*/ 0 w 146854"/>
                    <a:gd name="connsiteY4" fmla="*/ 10808 h 10808"/>
                    <a:gd name="connsiteX5" fmla="*/ 0 w 146854"/>
                    <a:gd name="connsiteY5" fmla="*/ 4690 h 10808"/>
                    <a:gd name="connsiteX6" fmla="*/ 4688 w 146854"/>
                    <a:gd name="connsiteY6" fmla="*/ 0 h 10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6854" h="10808">
                      <a:moveTo>
                        <a:pt x="4676" y="0"/>
                      </a:moveTo>
                      <a:lnTo>
                        <a:pt x="142166" y="0"/>
                      </a:lnTo>
                      <a:cubicBezTo>
                        <a:pt x="144757" y="0"/>
                        <a:pt x="146854" y="2098"/>
                        <a:pt x="146854" y="4690"/>
                      </a:cubicBezTo>
                      <a:lnTo>
                        <a:pt x="146854" y="10808"/>
                      </a:lnTo>
                      <a:lnTo>
                        <a:pt x="0" y="10808"/>
                      </a:lnTo>
                      <a:lnTo>
                        <a:pt x="0" y="4690"/>
                      </a:lnTo>
                      <a:cubicBezTo>
                        <a:pt x="0" y="2098"/>
                        <a:pt x="2098" y="0"/>
                        <a:pt x="4688" y="0"/>
                      </a:cubicBezTo>
                      <a:close/>
                    </a:path>
                  </a:pathLst>
                </a:custGeom>
                <a:solidFill>
                  <a:srgbClr val="3B9B9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5" name="Freihandform 174">
                  <a:extLst>
                    <a:ext uri="{FF2B5EF4-FFF2-40B4-BE49-F238E27FC236}">
                      <a16:creationId xmlns:a16="http://schemas.microsoft.com/office/drawing/2014/main" id="{07E2D50A-EAAB-6404-DE8A-8033CF2B3908}"/>
                    </a:ext>
                  </a:extLst>
                </p:cNvPr>
                <p:cNvSpPr/>
                <p:nvPr/>
              </p:nvSpPr>
              <p:spPr>
                <a:xfrm>
                  <a:off x="9700116" y="3231283"/>
                  <a:ext cx="500867" cy="285884"/>
                </a:xfrm>
                <a:custGeom>
                  <a:avLst/>
                  <a:gdLst>
                    <a:gd name="connsiteX0" fmla="*/ 494005 w 500867"/>
                    <a:gd name="connsiteY0" fmla="*/ 0 h 285884"/>
                    <a:gd name="connsiteX1" fmla="*/ 500867 w 500867"/>
                    <a:gd name="connsiteY1" fmla="*/ 6864 h 285884"/>
                    <a:gd name="connsiteX2" fmla="*/ 500867 w 500867"/>
                    <a:gd name="connsiteY2" fmla="*/ 279021 h 285884"/>
                    <a:gd name="connsiteX3" fmla="*/ 494005 w 500867"/>
                    <a:gd name="connsiteY3" fmla="*/ 285885 h 285884"/>
                    <a:gd name="connsiteX4" fmla="*/ 6862 w 500867"/>
                    <a:gd name="connsiteY4" fmla="*/ 285885 h 285884"/>
                    <a:gd name="connsiteX5" fmla="*/ -1 w 500867"/>
                    <a:gd name="connsiteY5" fmla="*/ 279021 h 285884"/>
                    <a:gd name="connsiteX6" fmla="*/ -1 w 500867"/>
                    <a:gd name="connsiteY6" fmla="*/ 6864 h 285884"/>
                    <a:gd name="connsiteX7" fmla="*/ 6862 w 500867"/>
                    <a:gd name="connsiteY7" fmla="*/ 0 h 285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0867" h="285884">
                      <a:moveTo>
                        <a:pt x="494005" y="0"/>
                      </a:moveTo>
                      <a:cubicBezTo>
                        <a:pt x="497794" y="0"/>
                        <a:pt x="500867" y="3073"/>
                        <a:pt x="500867" y="6864"/>
                      </a:cubicBezTo>
                      <a:lnTo>
                        <a:pt x="500867" y="279021"/>
                      </a:lnTo>
                      <a:cubicBezTo>
                        <a:pt x="500867" y="282812"/>
                        <a:pt x="497795" y="285885"/>
                        <a:pt x="494005" y="285885"/>
                      </a:cubicBezTo>
                      <a:lnTo>
                        <a:pt x="6862" y="285885"/>
                      </a:lnTo>
                      <a:cubicBezTo>
                        <a:pt x="3072" y="285885"/>
                        <a:pt x="-1" y="282812"/>
                        <a:pt x="-1" y="279021"/>
                      </a:cubicBezTo>
                      <a:lnTo>
                        <a:pt x="-1" y="6864"/>
                      </a:lnTo>
                      <a:cubicBezTo>
                        <a:pt x="-1" y="3073"/>
                        <a:pt x="3071" y="0"/>
                        <a:pt x="6862" y="0"/>
                      </a:cubicBez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6" name="Freihandform 175">
                  <a:extLst>
                    <a:ext uri="{FF2B5EF4-FFF2-40B4-BE49-F238E27FC236}">
                      <a16:creationId xmlns:a16="http://schemas.microsoft.com/office/drawing/2014/main" id="{DC3291D1-0281-C3A5-E5EE-799E1A6E3DD0}"/>
                    </a:ext>
                  </a:extLst>
                </p:cNvPr>
                <p:cNvSpPr/>
                <p:nvPr/>
              </p:nvSpPr>
              <p:spPr>
                <a:xfrm rot="5400000">
                  <a:off x="9827055" y="3127590"/>
                  <a:ext cx="246989" cy="477734"/>
                </a:xfrm>
                <a:custGeom>
                  <a:avLst/>
                  <a:gdLst>
                    <a:gd name="connsiteX0" fmla="*/ 0 w 246989"/>
                    <a:gd name="connsiteY0" fmla="*/ 0 h 477734"/>
                    <a:gd name="connsiteX1" fmla="*/ 246990 w 246989"/>
                    <a:gd name="connsiteY1" fmla="*/ 0 h 477734"/>
                    <a:gd name="connsiteX2" fmla="*/ 246990 w 246989"/>
                    <a:gd name="connsiteY2" fmla="*/ 477735 h 477734"/>
                    <a:gd name="connsiteX3" fmla="*/ 0 w 246989"/>
                    <a:gd name="connsiteY3" fmla="*/ 477735 h 477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6989" h="477734">
                      <a:moveTo>
                        <a:pt x="0" y="0"/>
                      </a:moveTo>
                      <a:lnTo>
                        <a:pt x="246990" y="0"/>
                      </a:lnTo>
                      <a:lnTo>
                        <a:pt x="246990" y="477735"/>
                      </a:lnTo>
                      <a:lnTo>
                        <a:pt x="0" y="477735"/>
                      </a:lnTo>
                      <a:close/>
                    </a:path>
                  </a:pathLst>
                </a:custGeom>
                <a:solidFill>
                  <a:srgbClr val="06534B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7" name="Freihandform 176">
                  <a:extLst>
                    <a:ext uri="{FF2B5EF4-FFF2-40B4-BE49-F238E27FC236}">
                      <a16:creationId xmlns:a16="http://schemas.microsoft.com/office/drawing/2014/main" id="{A0FE59CF-C837-661A-7C75-CE37142E8DD4}"/>
                    </a:ext>
                  </a:extLst>
                </p:cNvPr>
                <p:cNvSpPr/>
                <p:nvPr/>
              </p:nvSpPr>
              <p:spPr>
                <a:xfrm>
                  <a:off x="9915539" y="3517168"/>
                  <a:ext cx="70021" cy="10390"/>
                </a:xfrm>
                <a:custGeom>
                  <a:avLst/>
                  <a:gdLst>
                    <a:gd name="connsiteX0" fmla="*/ 0 w 70021"/>
                    <a:gd name="connsiteY0" fmla="*/ 0 h 10390"/>
                    <a:gd name="connsiteX1" fmla="*/ 70022 w 70021"/>
                    <a:gd name="connsiteY1" fmla="*/ 0 h 10390"/>
                    <a:gd name="connsiteX2" fmla="*/ 70022 w 70021"/>
                    <a:gd name="connsiteY2" fmla="*/ 10391 h 10390"/>
                    <a:gd name="connsiteX3" fmla="*/ 0 w 70021"/>
                    <a:gd name="connsiteY3" fmla="*/ 10391 h 10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21" h="10390">
                      <a:moveTo>
                        <a:pt x="0" y="0"/>
                      </a:moveTo>
                      <a:lnTo>
                        <a:pt x="70022" y="0"/>
                      </a:lnTo>
                      <a:lnTo>
                        <a:pt x="70022" y="10391"/>
                      </a:lnTo>
                      <a:lnTo>
                        <a:pt x="0" y="10391"/>
                      </a:lnTo>
                      <a:close/>
                    </a:path>
                  </a:pathLst>
                </a:custGeom>
                <a:solidFill>
                  <a:srgbClr val="3B9B9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78" name="Freihandform 177">
                <a:extLst>
                  <a:ext uri="{FF2B5EF4-FFF2-40B4-BE49-F238E27FC236}">
                    <a16:creationId xmlns:a16="http://schemas.microsoft.com/office/drawing/2014/main" id="{A059CD67-472C-175A-AB73-760F719CE1BD}"/>
                  </a:ext>
                </a:extLst>
              </p:cNvPr>
              <p:cNvSpPr/>
              <p:nvPr/>
            </p:nvSpPr>
            <p:spPr>
              <a:xfrm>
                <a:off x="9711768" y="3242925"/>
                <a:ext cx="370073" cy="247064"/>
              </a:xfrm>
              <a:custGeom>
                <a:avLst/>
                <a:gdLst>
                  <a:gd name="connsiteX0" fmla="*/ 173165 w 370073"/>
                  <a:gd name="connsiteY0" fmla="*/ 247065 h 247064"/>
                  <a:gd name="connsiteX1" fmla="*/ 0 w 370073"/>
                  <a:gd name="connsiteY1" fmla="*/ 247065 h 247064"/>
                  <a:gd name="connsiteX2" fmla="*/ 0 w 370073"/>
                  <a:gd name="connsiteY2" fmla="*/ 0 h 247064"/>
                  <a:gd name="connsiteX3" fmla="*/ 370074 w 370073"/>
                  <a:gd name="connsiteY3" fmla="*/ 0 h 247064"/>
                  <a:gd name="connsiteX4" fmla="*/ 173165 w 370073"/>
                  <a:gd name="connsiteY4" fmla="*/ 247065 h 247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0073" h="247064">
                    <a:moveTo>
                      <a:pt x="173165" y="247065"/>
                    </a:moveTo>
                    <a:lnTo>
                      <a:pt x="0" y="247065"/>
                    </a:lnTo>
                    <a:lnTo>
                      <a:pt x="0" y="0"/>
                    </a:lnTo>
                    <a:lnTo>
                      <a:pt x="370074" y="0"/>
                    </a:lnTo>
                    <a:lnTo>
                      <a:pt x="173165" y="247065"/>
                    </a:ln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79" name="Grafik 5">
            <a:extLst>
              <a:ext uri="{FF2B5EF4-FFF2-40B4-BE49-F238E27FC236}">
                <a16:creationId xmlns:a16="http://schemas.microsoft.com/office/drawing/2014/main" id="{7998E992-A771-11C2-1B52-8C6961068AA5}"/>
              </a:ext>
            </a:extLst>
          </p:cNvPr>
          <p:cNvGrpSpPr/>
          <p:nvPr/>
        </p:nvGrpSpPr>
        <p:grpSpPr>
          <a:xfrm>
            <a:off x="9806806" y="4239363"/>
            <a:ext cx="500784" cy="92606"/>
            <a:chOff x="9806806" y="4239363"/>
            <a:chExt cx="500784" cy="92606"/>
          </a:xfrm>
        </p:grpSpPr>
        <p:sp>
          <p:nvSpPr>
            <p:cNvPr id="180" name="Freihandform 179">
              <a:extLst>
                <a:ext uri="{FF2B5EF4-FFF2-40B4-BE49-F238E27FC236}">
                  <a16:creationId xmlns:a16="http://schemas.microsoft.com/office/drawing/2014/main" id="{BEC7E1C4-C21F-67C9-D7FE-2048D3CE8719}"/>
                </a:ext>
              </a:extLst>
            </p:cNvPr>
            <p:cNvSpPr/>
            <p:nvPr/>
          </p:nvSpPr>
          <p:spPr>
            <a:xfrm>
              <a:off x="9806806" y="4301961"/>
              <a:ext cx="500784" cy="30009"/>
            </a:xfrm>
            <a:custGeom>
              <a:avLst/>
              <a:gdLst>
                <a:gd name="connsiteX0" fmla="*/ 451866 w 500784"/>
                <a:gd name="connsiteY0" fmla="*/ 0 h 30009"/>
                <a:gd name="connsiteX1" fmla="*/ 48935 w 500784"/>
                <a:gd name="connsiteY1" fmla="*/ 0 h 30009"/>
                <a:gd name="connsiteX2" fmla="*/ 21424 w 500784"/>
                <a:gd name="connsiteY2" fmla="*/ 7104 h 30009"/>
                <a:gd name="connsiteX3" fmla="*/ 3606 w 500784"/>
                <a:gd name="connsiteY3" fmla="*/ 16951 h 30009"/>
                <a:gd name="connsiteX4" fmla="*/ 6980 w 500784"/>
                <a:gd name="connsiteY4" fmla="*/ 30009 h 30009"/>
                <a:gd name="connsiteX5" fmla="*/ 493808 w 500784"/>
                <a:gd name="connsiteY5" fmla="*/ 30009 h 30009"/>
                <a:gd name="connsiteX6" fmla="*/ 497182 w 500784"/>
                <a:gd name="connsiteY6" fmla="*/ 16951 h 30009"/>
                <a:gd name="connsiteX7" fmla="*/ 479363 w 500784"/>
                <a:gd name="connsiteY7" fmla="*/ 7104 h 30009"/>
                <a:gd name="connsiteX8" fmla="*/ 451853 w 500784"/>
                <a:gd name="connsiteY8" fmla="*/ 0 h 3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784" h="30009">
                  <a:moveTo>
                    <a:pt x="451866" y="0"/>
                  </a:moveTo>
                  <a:lnTo>
                    <a:pt x="48935" y="0"/>
                  </a:lnTo>
                  <a:cubicBezTo>
                    <a:pt x="39319" y="0"/>
                    <a:pt x="29853" y="2440"/>
                    <a:pt x="21424" y="7104"/>
                  </a:cubicBezTo>
                  <a:lnTo>
                    <a:pt x="3606" y="16951"/>
                  </a:lnTo>
                  <a:cubicBezTo>
                    <a:pt x="-2687" y="20428"/>
                    <a:pt x="-223" y="30009"/>
                    <a:pt x="6980" y="30009"/>
                  </a:cubicBezTo>
                  <a:lnTo>
                    <a:pt x="493808" y="30009"/>
                  </a:lnTo>
                  <a:cubicBezTo>
                    <a:pt x="500998" y="30009"/>
                    <a:pt x="503475" y="20428"/>
                    <a:pt x="497182" y="16951"/>
                  </a:cubicBezTo>
                  <a:lnTo>
                    <a:pt x="479363" y="7104"/>
                  </a:lnTo>
                  <a:cubicBezTo>
                    <a:pt x="470948" y="2452"/>
                    <a:pt x="461482" y="0"/>
                    <a:pt x="451853" y="0"/>
                  </a:cubicBezTo>
                  <a:close/>
                </a:path>
              </a:pathLst>
            </a:custGeom>
            <a:solidFill>
              <a:srgbClr val="6CB4A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81" name="Grafik 5">
              <a:extLst>
                <a:ext uri="{FF2B5EF4-FFF2-40B4-BE49-F238E27FC236}">
                  <a16:creationId xmlns:a16="http://schemas.microsoft.com/office/drawing/2014/main" id="{1B3B3135-DB56-B4B1-DB3C-49931C5FF0BC}"/>
                </a:ext>
              </a:extLst>
            </p:cNvPr>
            <p:cNvGrpSpPr/>
            <p:nvPr/>
          </p:nvGrpSpPr>
          <p:grpSpPr>
            <a:xfrm>
              <a:off x="9851078" y="4239363"/>
              <a:ext cx="412256" cy="81798"/>
              <a:chOff x="9851078" y="4239363"/>
              <a:chExt cx="412256" cy="81798"/>
            </a:xfrm>
          </p:grpSpPr>
          <p:sp>
            <p:nvSpPr>
              <p:cNvPr id="182" name="Freihandform 181">
                <a:extLst>
                  <a:ext uri="{FF2B5EF4-FFF2-40B4-BE49-F238E27FC236}">
                    <a16:creationId xmlns:a16="http://schemas.microsoft.com/office/drawing/2014/main" id="{74DE0F29-C764-7B9A-F76A-A33024BDD39A}"/>
                  </a:ext>
                </a:extLst>
              </p:cNvPr>
              <p:cNvSpPr/>
              <p:nvPr/>
            </p:nvSpPr>
            <p:spPr>
              <a:xfrm>
                <a:off x="9864081" y="4249501"/>
                <a:ext cx="386249" cy="71660"/>
              </a:xfrm>
              <a:custGeom>
                <a:avLst/>
                <a:gdLst>
                  <a:gd name="connsiteX0" fmla="*/ 0 w 386249"/>
                  <a:gd name="connsiteY0" fmla="*/ 0 h 71660"/>
                  <a:gd name="connsiteX1" fmla="*/ 386249 w 386249"/>
                  <a:gd name="connsiteY1" fmla="*/ 0 h 71660"/>
                  <a:gd name="connsiteX2" fmla="*/ 386249 w 386249"/>
                  <a:gd name="connsiteY2" fmla="*/ 71661 h 71660"/>
                  <a:gd name="connsiteX3" fmla="*/ 0 w 386249"/>
                  <a:gd name="connsiteY3" fmla="*/ 71661 h 71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249" h="71660">
                    <a:moveTo>
                      <a:pt x="0" y="0"/>
                    </a:moveTo>
                    <a:lnTo>
                      <a:pt x="386249" y="0"/>
                    </a:lnTo>
                    <a:lnTo>
                      <a:pt x="386249" y="71661"/>
                    </a:lnTo>
                    <a:lnTo>
                      <a:pt x="0" y="71661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" name="Freihandform 182">
                <a:extLst>
                  <a:ext uri="{FF2B5EF4-FFF2-40B4-BE49-F238E27FC236}">
                    <a16:creationId xmlns:a16="http://schemas.microsoft.com/office/drawing/2014/main" id="{ACD295BB-C5A0-A8C4-A3DD-7ED0FE2FB384}"/>
                  </a:ext>
                </a:extLst>
              </p:cNvPr>
              <p:cNvSpPr/>
              <p:nvPr/>
            </p:nvSpPr>
            <p:spPr>
              <a:xfrm>
                <a:off x="9851078" y="4239363"/>
                <a:ext cx="412256" cy="81798"/>
              </a:xfrm>
              <a:custGeom>
                <a:avLst/>
                <a:gdLst>
                  <a:gd name="connsiteX0" fmla="*/ 402412 w 412256"/>
                  <a:gd name="connsiteY0" fmla="*/ 0 h 81798"/>
                  <a:gd name="connsiteX1" fmla="*/ 412256 w 412256"/>
                  <a:gd name="connsiteY1" fmla="*/ 9847 h 81798"/>
                  <a:gd name="connsiteX2" fmla="*/ 412256 w 412256"/>
                  <a:gd name="connsiteY2" fmla="*/ 71952 h 81798"/>
                  <a:gd name="connsiteX3" fmla="*/ 402412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2" y="0"/>
                    </a:moveTo>
                    <a:cubicBezTo>
                      <a:pt x="407849" y="0"/>
                      <a:pt x="412256" y="4409"/>
                      <a:pt x="412256" y="9847"/>
                    </a:cubicBezTo>
                    <a:lnTo>
                      <a:pt x="412256" y="71952"/>
                    </a:lnTo>
                    <a:cubicBezTo>
                      <a:pt x="412256" y="77390"/>
                      <a:pt x="407849" y="81799"/>
                      <a:pt x="402412" y="81799"/>
                    </a:cubicBezTo>
                    <a:lnTo>
                      <a:pt x="9844" y="81799"/>
                    </a:lnTo>
                    <a:cubicBezTo>
                      <a:pt x="4407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7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" name="Freihandform 183">
                <a:extLst>
                  <a:ext uri="{FF2B5EF4-FFF2-40B4-BE49-F238E27FC236}">
                    <a16:creationId xmlns:a16="http://schemas.microsoft.com/office/drawing/2014/main" id="{B6307900-1506-276C-31D7-E1A25BCB7602}"/>
                  </a:ext>
                </a:extLst>
              </p:cNvPr>
              <p:cNvSpPr/>
              <p:nvPr/>
            </p:nvSpPr>
            <p:spPr>
              <a:xfrm>
                <a:off x="10137331" y="4239363"/>
                <a:ext cx="126002" cy="81798"/>
              </a:xfrm>
              <a:custGeom>
                <a:avLst/>
                <a:gdLst>
                  <a:gd name="connsiteX0" fmla="*/ 126003 w 126002"/>
                  <a:gd name="connsiteY0" fmla="*/ 71964 h 81798"/>
                  <a:gd name="connsiteX1" fmla="*/ 126003 w 126002"/>
                  <a:gd name="connsiteY1" fmla="*/ 9847 h 81798"/>
                  <a:gd name="connsiteX2" fmla="*/ 116159 w 126002"/>
                  <a:gd name="connsiteY2" fmla="*/ 0 h 81798"/>
                  <a:gd name="connsiteX3" fmla="*/ 0 w 126002"/>
                  <a:gd name="connsiteY3" fmla="*/ 0 h 81798"/>
                  <a:gd name="connsiteX4" fmla="*/ 0 w 126002"/>
                  <a:gd name="connsiteY4" fmla="*/ 81799 h 81798"/>
                  <a:gd name="connsiteX5" fmla="*/ 116159 w 126002"/>
                  <a:gd name="connsiteY5" fmla="*/ 81799 h 81798"/>
                  <a:gd name="connsiteX6" fmla="*/ 126003 w 126002"/>
                  <a:gd name="connsiteY6" fmla="*/ 71952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002" h="81798">
                    <a:moveTo>
                      <a:pt x="126003" y="71964"/>
                    </a:moveTo>
                    <a:lnTo>
                      <a:pt x="126003" y="9847"/>
                    </a:lnTo>
                    <a:cubicBezTo>
                      <a:pt x="126003" y="4412"/>
                      <a:pt x="121592" y="0"/>
                      <a:pt x="116159" y="0"/>
                    </a:cubicBezTo>
                    <a:lnTo>
                      <a:pt x="0" y="0"/>
                    </a:lnTo>
                    <a:lnTo>
                      <a:pt x="0" y="81799"/>
                    </a:lnTo>
                    <a:lnTo>
                      <a:pt x="116159" y="81799"/>
                    </a:lnTo>
                    <a:cubicBezTo>
                      <a:pt x="121592" y="81799"/>
                      <a:pt x="126003" y="77387"/>
                      <a:pt x="126003" y="71952"/>
                    </a:cubicBezTo>
                    <a:close/>
                  </a:path>
                </a:pathLst>
              </a:custGeom>
              <a:solidFill>
                <a:srgbClr val="08665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85" name="Grafik 5">
                <a:extLst>
                  <a:ext uri="{FF2B5EF4-FFF2-40B4-BE49-F238E27FC236}">
                    <a16:creationId xmlns:a16="http://schemas.microsoft.com/office/drawing/2014/main" id="{A3AC8CFB-45BE-3D28-19E7-018EB3A72C37}"/>
                  </a:ext>
                </a:extLst>
              </p:cNvPr>
              <p:cNvGrpSpPr/>
              <p:nvPr/>
            </p:nvGrpSpPr>
            <p:grpSpPr>
              <a:xfrm>
                <a:off x="9868492" y="4272659"/>
                <a:ext cx="377441" cy="15219"/>
                <a:chOff x="9868492" y="4272659"/>
                <a:chExt cx="377441" cy="15219"/>
              </a:xfrm>
            </p:grpSpPr>
            <p:grpSp>
              <p:nvGrpSpPr>
                <p:cNvPr id="186" name="Grafik 5">
                  <a:extLst>
                    <a:ext uri="{FF2B5EF4-FFF2-40B4-BE49-F238E27FC236}">
                      <a16:creationId xmlns:a16="http://schemas.microsoft.com/office/drawing/2014/main" id="{8781E37D-51B7-4AC6-A853-377216995465}"/>
                    </a:ext>
                  </a:extLst>
                </p:cNvPr>
                <p:cNvGrpSpPr/>
                <p:nvPr/>
              </p:nvGrpSpPr>
              <p:grpSpPr>
                <a:xfrm>
                  <a:off x="9868492" y="4273670"/>
                  <a:ext cx="99124" cy="13197"/>
                  <a:chOff x="9868492" y="4273670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187" name="Freihandform 186">
                    <a:extLst>
                      <a:ext uri="{FF2B5EF4-FFF2-40B4-BE49-F238E27FC236}">
                        <a16:creationId xmlns:a16="http://schemas.microsoft.com/office/drawing/2014/main" id="{D7726BA5-6E67-0BBF-6C69-AB946046CEB3}"/>
                      </a:ext>
                    </a:extLst>
                  </p:cNvPr>
                  <p:cNvSpPr/>
                  <p:nvPr/>
                </p:nvSpPr>
                <p:spPr>
                  <a:xfrm>
                    <a:off x="9868492" y="427367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8" name="Freihandform 187">
                    <a:extLst>
                      <a:ext uri="{FF2B5EF4-FFF2-40B4-BE49-F238E27FC236}">
                        <a16:creationId xmlns:a16="http://schemas.microsoft.com/office/drawing/2014/main" id="{24693505-B756-25CF-07EE-4594B2B70715}"/>
                      </a:ext>
                    </a:extLst>
                  </p:cNvPr>
                  <p:cNvSpPr/>
                  <p:nvPr/>
                </p:nvSpPr>
                <p:spPr>
                  <a:xfrm>
                    <a:off x="9897127" y="427367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9" name="Freihandform 188">
                    <a:extLst>
                      <a:ext uri="{FF2B5EF4-FFF2-40B4-BE49-F238E27FC236}">
                        <a16:creationId xmlns:a16="http://schemas.microsoft.com/office/drawing/2014/main" id="{7DF9A5E9-54B2-2E87-D5E7-89743E102F22}"/>
                      </a:ext>
                    </a:extLst>
                  </p:cNvPr>
                  <p:cNvSpPr/>
                  <p:nvPr/>
                </p:nvSpPr>
                <p:spPr>
                  <a:xfrm>
                    <a:off x="9925775" y="427367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0" name="Freihandform 189">
                    <a:extLst>
                      <a:ext uri="{FF2B5EF4-FFF2-40B4-BE49-F238E27FC236}">
                        <a16:creationId xmlns:a16="http://schemas.microsoft.com/office/drawing/2014/main" id="{0FC3F4CD-B8EA-A0B3-730C-0F7DC0726936}"/>
                      </a:ext>
                    </a:extLst>
                  </p:cNvPr>
                  <p:cNvSpPr/>
                  <p:nvPr/>
                </p:nvSpPr>
                <p:spPr>
                  <a:xfrm>
                    <a:off x="9954423" y="427367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91" name="Freihandform 190">
                  <a:extLst>
                    <a:ext uri="{FF2B5EF4-FFF2-40B4-BE49-F238E27FC236}">
                      <a16:creationId xmlns:a16="http://schemas.microsoft.com/office/drawing/2014/main" id="{978298A2-05A6-BE4E-D952-EFD0DC6F6D36}"/>
                    </a:ext>
                  </a:extLst>
                </p:cNvPr>
                <p:cNvSpPr/>
                <p:nvPr/>
              </p:nvSpPr>
              <p:spPr>
                <a:xfrm>
                  <a:off x="10201539" y="4272659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" name="Freihandform 191">
                  <a:extLst>
                    <a:ext uri="{FF2B5EF4-FFF2-40B4-BE49-F238E27FC236}">
                      <a16:creationId xmlns:a16="http://schemas.microsoft.com/office/drawing/2014/main" id="{6AAB1DAF-0094-C9A4-5C48-DEC439EF0BDB}"/>
                    </a:ext>
                  </a:extLst>
                </p:cNvPr>
                <p:cNvSpPr/>
                <p:nvPr/>
              </p:nvSpPr>
              <p:spPr>
                <a:xfrm>
                  <a:off x="10230718" y="4272659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1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7" y="15220"/>
                        <a:pt x="1" y="11813"/>
                        <a:pt x="1" y="7610"/>
                      </a:cubicBezTo>
                      <a:cubicBezTo>
                        <a:pt x="1" y="3407"/>
                        <a:pt x="3407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93" name="Grafik 5">
            <a:extLst>
              <a:ext uri="{FF2B5EF4-FFF2-40B4-BE49-F238E27FC236}">
                <a16:creationId xmlns:a16="http://schemas.microsoft.com/office/drawing/2014/main" id="{90BD518E-7C34-2E19-6E42-FAAF38DEA782}"/>
              </a:ext>
            </a:extLst>
          </p:cNvPr>
          <p:cNvGrpSpPr/>
          <p:nvPr/>
        </p:nvGrpSpPr>
        <p:grpSpPr>
          <a:xfrm>
            <a:off x="10350260" y="4239363"/>
            <a:ext cx="500784" cy="92606"/>
            <a:chOff x="10350260" y="4239363"/>
            <a:chExt cx="500784" cy="92606"/>
          </a:xfrm>
        </p:grpSpPr>
        <p:sp>
          <p:nvSpPr>
            <p:cNvPr id="194" name="Freihandform 193">
              <a:extLst>
                <a:ext uri="{FF2B5EF4-FFF2-40B4-BE49-F238E27FC236}">
                  <a16:creationId xmlns:a16="http://schemas.microsoft.com/office/drawing/2014/main" id="{1C2EB0BC-55C8-3C8A-831D-0ADCADA7CAFE}"/>
                </a:ext>
              </a:extLst>
            </p:cNvPr>
            <p:cNvSpPr/>
            <p:nvPr/>
          </p:nvSpPr>
          <p:spPr>
            <a:xfrm>
              <a:off x="10350260" y="4301961"/>
              <a:ext cx="500784" cy="30009"/>
            </a:xfrm>
            <a:custGeom>
              <a:avLst/>
              <a:gdLst>
                <a:gd name="connsiteX0" fmla="*/ 451866 w 500784"/>
                <a:gd name="connsiteY0" fmla="*/ 0 h 30009"/>
                <a:gd name="connsiteX1" fmla="*/ 48935 w 500784"/>
                <a:gd name="connsiteY1" fmla="*/ 0 h 30009"/>
                <a:gd name="connsiteX2" fmla="*/ 21424 w 500784"/>
                <a:gd name="connsiteY2" fmla="*/ 7104 h 30009"/>
                <a:gd name="connsiteX3" fmla="*/ 3606 w 500784"/>
                <a:gd name="connsiteY3" fmla="*/ 16951 h 30009"/>
                <a:gd name="connsiteX4" fmla="*/ 6980 w 500784"/>
                <a:gd name="connsiteY4" fmla="*/ 30009 h 30009"/>
                <a:gd name="connsiteX5" fmla="*/ 493808 w 500784"/>
                <a:gd name="connsiteY5" fmla="*/ 30009 h 30009"/>
                <a:gd name="connsiteX6" fmla="*/ 497182 w 500784"/>
                <a:gd name="connsiteY6" fmla="*/ 16951 h 30009"/>
                <a:gd name="connsiteX7" fmla="*/ 479363 w 500784"/>
                <a:gd name="connsiteY7" fmla="*/ 7104 h 30009"/>
                <a:gd name="connsiteX8" fmla="*/ 451853 w 500784"/>
                <a:gd name="connsiteY8" fmla="*/ 0 h 3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784" h="30009">
                  <a:moveTo>
                    <a:pt x="451866" y="0"/>
                  </a:moveTo>
                  <a:lnTo>
                    <a:pt x="48935" y="0"/>
                  </a:lnTo>
                  <a:cubicBezTo>
                    <a:pt x="39319" y="0"/>
                    <a:pt x="29853" y="2440"/>
                    <a:pt x="21424" y="7104"/>
                  </a:cubicBezTo>
                  <a:lnTo>
                    <a:pt x="3606" y="16951"/>
                  </a:lnTo>
                  <a:cubicBezTo>
                    <a:pt x="-2687" y="20428"/>
                    <a:pt x="-223" y="30009"/>
                    <a:pt x="6980" y="30009"/>
                  </a:cubicBezTo>
                  <a:lnTo>
                    <a:pt x="493808" y="30009"/>
                  </a:lnTo>
                  <a:cubicBezTo>
                    <a:pt x="500998" y="30009"/>
                    <a:pt x="503475" y="20428"/>
                    <a:pt x="497182" y="16951"/>
                  </a:cubicBezTo>
                  <a:lnTo>
                    <a:pt x="479363" y="7104"/>
                  </a:lnTo>
                  <a:cubicBezTo>
                    <a:pt x="470947" y="2452"/>
                    <a:pt x="461482" y="0"/>
                    <a:pt x="451853" y="0"/>
                  </a:cubicBezTo>
                  <a:close/>
                </a:path>
              </a:pathLst>
            </a:custGeom>
            <a:solidFill>
              <a:srgbClr val="6CB4A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95" name="Grafik 5">
              <a:extLst>
                <a:ext uri="{FF2B5EF4-FFF2-40B4-BE49-F238E27FC236}">
                  <a16:creationId xmlns:a16="http://schemas.microsoft.com/office/drawing/2014/main" id="{35F65600-8367-E465-9AA1-7F094DCAFC32}"/>
                </a:ext>
              </a:extLst>
            </p:cNvPr>
            <p:cNvGrpSpPr/>
            <p:nvPr/>
          </p:nvGrpSpPr>
          <p:grpSpPr>
            <a:xfrm>
              <a:off x="10394532" y="4239363"/>
              <a:ext cx="412256" cy="81811"/>
              <a:chOff x="10394532" y="4239363"/>
              <a:chExt cx="412256" cy="81811"/>
            </a:xfrm>
          </p:grpSpPr>
          <p:sp>
            <p:nvSpPr>
              <p:cNvPr id="196" name="Freihandform 195">
                <a:extLst>
                  <a:ext uri="{FF2B5EF4-FFF2-40B4-BE49-F238E27FC236}">
                    <a16:creationId xmlns:a16="http://schemas.microsoft.com/office/drawing/2014/main" id="{C4E19568-581E-EF5F-56D5-CD9B0E713235}"/>
                  </a:ext>
                </a:extLst>
              </p:cNvPr>
              <p:cNvSpPr/>
              <p:nvPr/>
            </p:nvSpPr>
            <p:spPr>
              <a:xfrm>
                <a:off x="10407535" y="4250904"/>
                <a:ext cx="386249" cy="70270"/>
              </a:xfrm>
              <a:custGeom>
                <a:avLst/>
                <a:gdLst>
                  <a:gd name="connsiteX0" fmla="*/ 0 w 386249"/>
                  <a:gd name="connsiteY0" fmla="*/ 0 h 70270"/>
                  <a:gd name="connsiteX1" fmla="*/ 386249 w 386249"/>
                  <a:gd name="connsiteY1" fmla="*/ 0 h 70270"/>
                  <a:gd name="connsiteX2" fmla="*/ 386249 w 386249"/>
                  <a:gd name="connsiteY2" fmla="*/ 70270 h 70270"/>
                  <a:gd name="connsiteX3" fmla="*/ 0 w 386249"/>
                  <a:gd name="connsiteY3" fmla="*/ 70270 h 70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249" h="70270">
                    <a:moveTo>
                      <a:pt x="0" y="0"/>
                    </a:moveTo>
                    <a:lnTo>
                      <a:pt x="386249" y="0"/>
                    </a:lnTo>
                    <a:lnTo>
                      <a:pt x="386249" y="70270"/>
                    </a:lnTo>
                    <a:lnTo>
                      <a:pt x="0" y="70270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" name="Freihandform 196">
                <a:extLst>
                  <a:ext uri="{FF2B5EF4-FFF2-40B4-BE49-F238E27FC236}">
                    <a16:creationId xmlns:a16="http://schemas.microsoft.com/office/drawing/2014/main" id="{1D4E27B6-E1F1-B4C3-7F16-A08BE687B215}"/>
                  </a:ext>
                </a:extLst>
              </p:cNvPr>
              <p:cNvSpPr/>
              <p:nvPr/>
            </p:nvSpPr>
            <p:spPr>
              <a:xfrm>
                <a:off x="10394532" y="4239363"/>
                <a:ext cx="412256" cy="81798"/>
              </a:xfrm>
              <a:custGeom>
                <a:avLst/>
                <a:gdLst>
                  <a:gd name="connsiteX0" fmla="*/ 402412 w 412256"/>
                  <a:gd name="connsiteY0" fmla="*/ 0 h 81798"/>
                  <a:gd name="connsiteX1" fmla="*/ 412256 w 412256"/>
                  <a:gd name="connsiteY1" fmla="*/ 9847 h 81798"/>
                  <a:gd name="connsiteX2" fmla="*/ 412256 w 412256"/>
                  <a:gd name="connsiteY2" fmla="*/ 71952 h 81798"/>
                  <a:gd name="connsiteX3" fmla="*/ 402412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2" y="0"/>
                    </a:moveTo>
                    <a:cubicBezTo>
                      <a:pt x="407849" y="0"/>
                      <a:pt x="412256" y="4409"/>
                      <a:pt x="412256" y="9847"/>
                    </a:cubicBezTo>
                    <a:lnTo>
                      <a:pt x="412256" y="71952"/>
                    </a:lnTo>
                    <a:cubicBezTo>
                      <a:pt x="412256" y="77390"/>
                      <a:pt x="407849" y="81799"/>
                      <a:pt x="402412" y="81799"/>
                    </a:cubicBezTo>
                    <a:lnTo>
                      <a:pt x="9844" y="81799"/>
                    </a:lnTo>
                    <a:cubicBezTo>
                      <a:pt x="4407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7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" name="Freihandform 197">
                <a:extLst>
                  <a:ext uri="{FF2B5EF4-FFF2-40B4-BE49-F238E27FC236}">
                    <a16:creationId xmlns:a16="http://schemas.microsoft.com/office/drawing/2014/main" id="{20F90531-C8A5-A50A-566F-F630E60A3A5F}"/>
                  </a:ext>
                </a:extLst>
              </p:cNvPr>
              <p:cNvSpPr/>
              <p:nvPr/>
            </p:nvSpPr>
            <p:spPr>
              <a:xfrm>
                <a:off x="10680784" y="4239363"/>
                <a:ext cx="126003" cy="81798"/>
              </a:xfrm>
              <a:custGeom>
                <a:avLst/>
                <a:gdLst>
                  <a:gd name="connsiteX0" fmla="*/ 126004 w 126003"/>
                  <a:gd name="connsiteY0" fmla="*/ 71964 h 81798"/>
                  <a:gd name="connsiteX1" fmla="*/ 126004 w 126003"/>
                  <a:gd name="connsiteY1" fmla="*/ 9847 h 81798"/>
                  <a:gd name="connsiteX2" fmla="*/ 116159 w 126003"/>
                  <a:gd name="connsiteY2" fmla="*/ 0 h 81798"/>
                  <a:gd name="connsiteX3" fmla="*/ 0 w 126003"/>
                  <a:gd name="connsiteY3" fmla="*/ 0 h 81798"/>
                  <a:gd name="connsiteX4" fmla="*/ 0 w 126003"/>
                  <a:gd name="connsiteY4" fmla="*/ 81799 h 81798"/>
                  <a:gd name="connsiteX5" fmla="*/ 116159 w 126003"/>
                  <a:gd name="connsiteY5" fmla="*/ 81799 h 81798"/>
                  <a:gd name="connsiteX6" fmla="*/ 126004 w 126003"/>
                  <a:gd name="connsiteY6" fmla="*/ 71952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003" h="81798">
                    <a:moveTo>
                      <a:pt x="126004" y="71964"/>
                    </a:moveTo>
                    <a:lnTo>
                      <a:pt x="126004" y="9847"/>
                    </a:lnTo>
                    <a:cubicBezTo>
                      <a:pt x="126004" y="4412"/>
                      <a:pt x="121593" y="0"/>
                      <a:pt x="116159" y="0"/>
                    </a:cubicBezTo>
                    <a:lnTo>
                      <a:pt x="0" y="0"/>
                    </a:lnTo>
                    <a:lnTo>
                      <a:pt x="0" y="81799"/>
                    </a:lnTo>
                    <a:lnTo>
                      <a:pt x="116159" y="81799"/>
                    </a:lnTo>
                    <a:cubicBezTo>
                      <a:pt x="121593" y="81799"/>
                      <a:pt x="126004" y="77387"/>
                      <a:pt x="126004" y="71952"/>
                    </a:cubicBezTo>
                    <a:close/>
                  </a:path>
                </a:pathLst>
              </a:custGeom>
              <a:solidFill>
                <a:srgbClr val="08665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99" name="Grafik 5">
                <a:extLst>
                  <a:ext uri="{FF2B5EF4-FFF2-40B4-BE49-F238E27FC236}">
                    <a16:creationId xmlns:a16="http://schemas.microsoft.com/office/drawing/2014/main" id="{C78EB24B-7753-A535-B7E7-931D9689C436}"/>
                  </a:ext>
                </a:extLst>
              </p:cNvPr>
              <p:cNvGrpSpPr/>
              <p:nvPr/>
            </p:nvGrpSpPr>
            <p:grpSpPr>
              <a:xfrm>
                <a:off x="10411945" y="4272659"/>
                <a:ext cx="377441" cy="15219"/>
                <a:chOff x="10411945" y="4272659"/>
                <a:chExt cx="377441" cy="15219"/>
              </a:xfrm>
            </p:grpSpPr>
            <p:grpSp>
              <p:nvGrpSpPr>
                <p:cNvPr id="200" name="Grafik 5">
                  <a:extLst>
                    <a:ext uri="{FF2B5EF4-FFF2-40B4-BE49-F238E27FC236}">
                      <a16:creationId xmlns:a16="http://schemas.microsoft.com/office/drawing/2014/main" id="{D9469DC0-9768-6B87-4D0B-618E87F62117}"/>
                    </a:ext>
                  </a:extLst>
                </p:cNvPr>
                <p:cNvGrpSpPr/>
                <p:nvPr/>
              </p:nvGrpSpPr>
              <p:grpSpPr>
                <a:xfrm>
                  <a:off x="10411945" y="4273670"/>
                  <a:ext cx="99111" cy="13197"/>
                  <a:chOff x="10411945" y="4273670"/>
                  <a:chExt cx="99111" cy="13197"/>
                </a:xfrm>
                <a:solidFill>
                  <a:srgbClr val="FFFFFF"/>
                </a:solidFill>
              </p:grpSpPr>
              <p:sp>
                <p:nvSpPr>
                  <p:cNvPr id="201" name="Freihandform 200">
                    <a:extLst>
                      <a:ext uri="{FF2B5EF4-FFF2-40B4-BE49-F238E27FC236}">
                        <a16:creationId xmlns:a16="http://schemas.microsoft.com/office/drawing/2014/main" id="{D51FC8EA-872A-3D05-937D-41D1C300AB11}"/>
                      </a:ext>
                    </a:extLst>
                  </p:cNvPr>
                  <p:cNvSpPr/>
                  <p:nvPr/>
                </p:nvSpPr>
                <p:spPr>
                  <a:xfrm>
                    <a:off x="10411945" y="427367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2" name="Freihandform 201">
                    <a:extLst>
                      <a:ext uri="{FF2B5EF4-FFF2-40B4-BE49-F238E27FC236}">
                        <a16:creationId xmlns:a16="http://schemas.microsoft.com/office/drawing/2014/main" id="{3638165B-43F4-5F28-D09A-4C8BF9EF3FA2}"/>
                      </a:ext>
                    </a:extLst>
                  </p:cNvPr>
                  <p:cNvSpPr/>
                  <p:nvPr/>
                </p:nvSpPr>
                <p:spPr>
                  <a:xfrm>
                    <a:off x="10440581" y="427367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3" name="Freihandform 202">
                    <a:extLst>
                      <a:ext uri="{FF2B5EF4-FFF2-40B4-BE49-F238E27FC236}">
                        <a16:creationId xmlns:a16="http://schemas.microsoft.com/office/drawing/2014/main" id="{D57FF739-60FC-738F-EC92-C9DB3337B876}"/>
                      </a:ext>
                    </a:extLst>
                  </p:cNvPr>
                  <p:cNvSpPr/>
                  <p:nvPr/>
                </p:nvSpPr>
                <p:spPr>
                  <a:xfrm>
                    <a:off x="10469229" y="427367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4" name="Freihandform 203">
                    <a:extLst>
                      <a:ext uri="{FF2B5EF4-FFF2-40B4-BE49-F238E27FC236}">
                        <a16:creationId xmlns:a16="http://schemas.microsoft.com/office/drawing/2014/main" id="{47800924-D850-5280-ED94-6C260A05E098}"/>
                      </a:ext>
                    </a:extLst>
                  </p:cNvPr>
                  <p:cNvSpPr/>
                  <p:nvPr/>
                </p:nvSpPr>
                <p:spPr>
                  <a:xfrm>
                    <a:off x="10497864" y="427367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05" name="Freihandform 204">
                  <a:extLst>
                    <a:ext uri="{FF2B5EF4-FFF2-40B4-BE49-F238E27FC236}">
                      <a16:creationId xmlns:a16="http://schemas.microsoft.com/office/drawing/2014/main" id="{BF951C21-264F-5CA6-3437-6D5BF9836B57}"/>
                    </a:ext>
                  </a:extLst>
                </p:cNvPr>
                <p:cNvSpPr/>
                <p:nvPr/>
              </p:nvSpPr>
              <p:spPr>
                <a:xfrm>
                  <a:off x="10744993" y="4272659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6" name="Freihandform 205">
                  <a:extLst>
                    <a:ext uri="{FF2B5EF4-FFF2-40B4-BE49-F238E27FC236}">
                      <a16:creationId xmlns:a16="http://schemas.microsoft.com/office/drawing/2014/main" id="{32AF5300-C1EF-EC73-694E-F880A4748FF7}"/>
                    </a:ext>
                  </a:extLst>
                </p:cNvPr>
                <p:cNvSpPr/>
                <p:nvPr/>
              </p:nvSpPr>
              <p:spPr>
                <a:xfrm>
                  <a:off x="10774172" y="4272659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1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7" y="15220"/>
                        <a:pt x="1" y="11813"/>
                        <a:pt x="1" y="7610"/>
                      </a:cubicBezTo>
                      <a:cubicBezTo>
                        <a:pt x="1" y="3407"/>
                        <a:pt x="3407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207" name="Grafik 5">
            <a:extLst>
              <a:ext uri="{FF2B5EF4-FFF2-40B4-BE49-F238E27FC236}">
                <a16:creationId xmlns:a16="http://schemas.microsoft.com/office/drawing/2014/main" id="{C05346D1-93FF-B39D-D62A-CCEBCDB7467F}"/>
              </a:ext>
            </a:extLst>
          </p:cNvPr>
          <p:cNvGrpSpPr/>
          <p:nvPr/>
        </p:nvGrpSpPr>
        <p:grpSpPr>
          <a:xfrm>
            <a:off x="8873868" y="3949926"/>
            <a:ext cx="500784" cy="382043"/>
            <a:chOff x="8873868" y="3949926"/>
            <a:chExt cx="500784" cy="382043"/>
          </a:xfrm>
        </p:grpSpPr>
        <p:sp>
          <p:nvSpPr>
            <p:cNvPr id="208" name="Freihandform 207">
              <a:extLst>
                <a:ext uri="{FF2B5EF4-FFF2-40B4-BE49-F238E27FC236}">
                  <a16:creationId xmlns:a16="http://schemas.microsoft.com/office/drawing/2014/main" id="{16F7FF51-4537-8A41-A576-666E8608C04B}"/>
                </a:ext>
              </a:extLst>
            </p:cNvPr>
            <p:cNvSpPr/>
            <p:nvPr/>
          </p:nvSpPr>
          <p:spPr>
            <a:xfrm>
              <a:off x="8873868" y="4301961"/>
              <a:ext cx="500784" cy="30009"/>
            </a:xfrm>
            <a:custGeom>
              <a:avLst/>
              <a:gdLst>
                <a:gd name="connsiteX0" fmla="*/ 451865 w 500784"/>
                <a:gd name="connsiteY0" fmla="*/ 0 h 30009"/>
                <a:gd name="connsiteX1" fmla="*/ 48935 w 500784"/>
                <a:gd name="connsiteY1" fmla="*/ 0 h 30009"/>
                <a:gd name="connsiteX2" fmla="*/ 21424 w 500784"/>
                <a:gd name="connsiteY2" fmla="*/ 7104 h 30009"/>
                <a:gd name="connsiteX3" fmla="*/ 3606 w 500784"/>
                <a:gd name="connsiteY3" fmla="*/ 16951 h 30009"/>
                <a:gd name="connsiteX4" fmla="*/ 6980 w 500784"/>
                <a:gd name="connsiteY4" fmla="*/ 30009 h 30009"/>
                <a:gd name="connsiteX5" fmla="*/ 493808 w 500784"/>
                <a:gd name="connsiteY5" fmla="*/ 30009 h 30009"/>
                <a:gd name="connsiteX6" fmla="*/ 497182 w 500784"/>
                <a:gd name="connsiteY6" fmla="*/ 16951 h 30009"/>
                <a:gd name="connsiteX7" fmla="*/ 479363 w 500784"/>
                <a:gd name="connsiteY7" fmla="*/ 7104 h 30009"/>
                <a:gd name="connsiteX8" fmla="*/ 451853 w 500784"/>
                <a:gd name="connsiteY8" fmla="*/ 0 h 3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784" h="30009">
                  <a:moveTo>
                    <a:pt x="451865" y="0"/>
                  </a:moveTo>
                  <a:lnTo>
                    <a:pt x="48935" y="0"/>
                  </a:lnTo>
                  <a:cubicBezTo>
                    <a:pt x="39318" y="0"/>
                    <a:pt x="29853" y="2440"/>
                    <a:pt x="21424" y="7104"/>
                  </a:cubicBezTo>
                  <a:lnTo>
                    <a:pt x="3606" y="16951"/>
                  </a:lnTo>
                  <a:cubicBezTo>
                    <a:pt x="-2687" y="20428"/>
                    <a:pt x="-223" y="30009"/>
                    <a:pt x="6980" y="30009"/>
                  </a:cubicBezTo>
                  <a:lnTo>
                    <a:pt x="493808" y="30009"/>
                  </a:lnTo>
                  <a:cubicBezTo>
                    <a:pt x="500998" y="30009"/>
                    <a:pt x="503475" y="20428"/>
                    <a:pt x="497182" y="16951"/>
                  </a:cubicBezTo>
                  <a:lnTo>
                    <a:pt x="479363" y="7104"/>
                  </a:lnTo>
                  <a:cubicBezTo>
                    <a:pt x="470947" y="2452"/>
                    <a:pt x="461482" y="0"/>
                    <a:pt x="451853" y="0"/>
                  </a:cubicBezTo>
                  <a:close/>
                </a:path>
              </a:pathLst>
            </a:custGeom>
            <a:solidFill>
              <a:srgbClr val="6CB4A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09" name="Grafik 5">
              <a:extLst>
                <a:ext uri="{FF2B5EF4-FFF2-40B4-BE49-F238E27FC236}">
                  <a16:creationId xmlns:a16="http://schemas.microsoft.com/office/drawing/2014/main" id="{8E7AF2DA-22EB-FC91-F981-050413E1CAF9}"/>
                </a:ext>
              </a:extLst>
            </p:cNvPr>
            <p:cNvGrpSpPr/>
            <p:nvPr/>
          </p:nvGrpSpPr>
          <p:grpSpPr>
            <a:xfrm>
              <a:off x="8918139" y="3949926"/>
              <a:ext cx="412256" cy="371235"/>
              <a:chOff x="8918139" y="3949926"/>
              <a:chExt cx="412256" cy="371235"/>
            </a:xfrm>
          </p:grpSpPr>
          <p:sp>
            <p:nvSpPr>
              <p:cNvPr id="210" name="Freihandform 209">
                <a:extLst>
                  <a:ext uri="{FF2B5EF4-FFF2-40B4-BE49-F238E27FC236}">
                    <a16:creationId xmlns:a16="http://schemas.microsoft.com/office/drawing/2014/main" id="{6D5D5E2F-8814-4EC7-DDEA-B63A836CC4B6}"/>
                  </a:ext>
                </a:extLst>
              </p:cNvPr>
              <p:cNvSpPr/>
              <p:nvPr/>
            </p:nvSpPr>
            <p:spPr>
              <a:xfrm>
                <a:off x="8931143" y="4015418"/>
                <a:ext cx="386249" cy="305743"/>
              </a:xfrm>
              <a:custGeom>
                <a:avLst/>
                <a:gdLst>
                  <a:gd name="connsiteX0" fmla="*/ 0 w 386249"/>
                  <a:gd name="connsiteY0" fmla="*/ 0 h 305743"/>
                  <a:gd name="connsiteX1" fmla="*/ 386250 w 386249"/>
                  <a:gd name="connsiteY1" fmla="*/ 0 h 305743"/>
                  <a:gd name="connsiteX2" fmla="*/ 386250 w 386249"/>
                  <a:gd name="connsiteY2" fmla="*/ 305744 h 305743"/>
                  <a:gd name="connsiteX3" fmla="*/ 0 w 386249"/>
                  <a:gd name="connsiteY3" fmla="*/ 305744 h 305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249" h="305743">
                    <a:moveTo>
                      <a:pt x="0" y="0"/>
                    </a:moveTo>
                    <a:lnTo>
                      <a:pt x="386250" y="0"/>
                    </a:lnTo>
                    <a:lnTo>
                      <a:pt x="386250" y="305744"/>
                    </a:lnTo>
                    <a:lnTo>
                      <a:pt x="0" y="305744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11" name="Grafik 5">
                <a:extLst>
                  <a:ext uri="{FF2B5EF4-FFF2-40B4-BE49-F238E27FC236}">
                    <a16:creationId xmlns:a16="http://schemas.microsoft.com/office/drawing/2014/main" id="{6B95F016-B780-0C03-3168-7C426328493B}"/>
                  </a:ext>
                </a:extLst>
              </p:cNvPr>
              <p:cNvGrpSpPr/>
              <p:nvPr/>
            </p:nvGrpSpPr>
            <p:grpSpPr>
              <a:xfrm>
                <a:off x="8918139" y="4239363"/>
                <a:ext cx="412256" cy="81798"/>
                <a:chOff x="8918139" y="4239363"/>
                <a:chExt cx="412256" cy="81798"/>
              </a:xfrm>
            </p:grpSpPr>
            <p:sp>
              <p:nvSpPr>
                <p:cNvPr id="212" name="Freihandform 211">
                  <a:extLst>
                    <a:ext uri="{FF2B5EF4-FFF2-40B4-BE49-F238E27FC236}">
                      <a16:creationId xmlns:a16="http://schemas.microsoft.com/office/drawing/2014/main" id="{1C1C6129-A184-E22F-8FA5-62C9F9F26A4E}"/>
                    </a:ext>
                  </a:extLst>
                </p:cNvPr>
                <p:cNvSpPr/>
                <p:nvPr/>
              </p:nvSpPr>
              <p:spPr>
                <a:xfrm>
                  <a:off x="8918139" y="4239363"/>
                  <a:ext cx="412256" cy="81798"/>
                </a:xfrm>
                <a:custGeom>
                  <a:avLst/>
                  <a:gdLst>
                    <a:gd name="connsiteX0" fmla="*/ 402412 w 412256"/>
                    <a:gd name="connsiteY0" fmla="*/ 0 h 81798"/>
                    <a:gd name="connsiteX1" fmla="*/ 412256 w 412256"/>
                    <a:gd name="connsiteY1" fmla="*/ 9847 h 81798"/>
                    <a:gd name="connsiteX2" fmla="*/ 412256 w 412256"/>
                    <a:gd name="connsiteY2" fmla="*/ 71952 h 81798"/>
                    <a:gd name="connsiteX3" fmla="*/ 402412 w 412256"/>
                    <a:gd name="connsiteY3" fmla="*/ 81799 h 81798"/>
                    <a:gd name="connsiteX4" fmla="*/ 9844 w 412256"/>
                    <a:gd name="connsiteY4" fmla="*/ 81799 h 81798"/>
                    <a:gd name="connsiteX5" fmla="*/ 0 w 412256"/>
                    <a:gd name="connsiteY5" fmla="*/ 71952 h 81798"/>
                    <a:gd name="connsiteX6" fmla="*/ 0 w 412256"/>
                    <a:gd name="connsiteY6" fmla="*/ 9847 h 81798"/>
                    <a:gd name="connsiteX7" fmla="*/ 9844 w 412256"/>
                    <a:gd name="connsiteY7" fmla="*/ 0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2256" h="81798">
                      <a:moveTo>
                        <a:pt x="402412" y="0"/>
                      </a:moveTo>
                      <a:cubicBezTo>
                        <a:pt x="407849" y="0"/>
                        <a:pt x="412256" y="4409"/>
                        <a:pt x="412256" y="9847"/>
                      </a:cubicBezTo>
                      <a:lnTo>
                        <a:pt x="412256" y="71952"/>
                      </a:lnTo>
                      <a:cubicBezTo>
                        <a:pt x="412256" y="77390"/>
                        <a:pt x="407849" y="81799"/>
                        <a:pt x="402412" y="81799"/>
                      </a:cubicBezTo>
                      <a:lnTo>
                        <a:pt x="9844" y="81799"/>
                      </a:lnTo>
                      <a:cubicBezTo>
                        <a:pt x="4407" y="81799"/>
                        <a:pt x="0" y="77390"/>
                        <a:pt x="0" y="71952"/>
                      </a:cubicBezTo>
                      <a:lnTo>
                        <a:pt x="0" y="9847"/>
                      </a:lnTo>
                      <a:cubicBezTo>
                        <a:pt x="0" y="4409"/>
                        <a:pt x="4407" y="0"/>
                        <a:pt x="9844" y="0"/>
                      </a:cubicBezTo>
                      <a:close/>
                    </a:path>
                  </a:pathLst>
                </a:custGeom>
                <a:solidFill>
                  <a:srgbClr val="0A8276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3" name="Freihandform 212">
                  <a:extLst>
                    <a:ext uri="{FF2B5EF4-FFF2-40B4-BE49-F238E27FC236}">
                      <a16:creationId xmlns:a16="http://schemas.microsoft.com/office/drawing/2014/main" id="{083B6AC2-B1B7-C454-7F5D-02F9B582F43E}"/>
                    </a:ext>
                  </a:extLst>
                </p:cNvPr>
                <p:cNvSpPr/>
                <p:nvPr/>
              </p:nvSpPr>
              <p:spPr>
                <a:xfrm>
                  <a:off x="9204392" y="4239363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14" name="Grafik 5">
                  <a:extLst>
                    <a:ext uri="{FF2B5EF4-FFF2-40B4-BE49-F238E27FC236}">
                      <a16:creationId xmlns:a16="http://schemas.microsoft.com/office/drawing/2014/main" id="{D2939B9B-3B34-EB95-4183-7ED4A2A12FA1}"/>
                    </a:ext>
                  </a:extLst>
                </p:cNvPr>
                <p:cNvGrpSpPr/>
                <p:nvPr/>
              </p:nvGrpSpPr>
              <p:grpSpPr>
                <a:xfrm>
                  <a:off x="8935553" y="4272659"/>
                  <a:ext cx="377441" cy="15219"/>
                  <a:chOff x="8935553" y="4272659"/>
                  <a:chExt cx="377441" cy="15219"/>
                </a:xfrm>
              </p:grpSpPr>
              <p:grpSp>
                <p:nvGrpSpPr>
                  <p:cNvPr id="215" name="Grafik 5">
                    <a:extLst>
                      <a:ext uri="{FF2B5EF4-FFF2-40B4-BE49-F238E27FC236}">
                        <a16:creationId xmlns:a16="http://schemas.microsoft.com/office/drawing/2014/main" id="{C0889421-01E3-73BD-70EB-D878160E565E}"/>
                      </a:ext>
                    </a:extLst>
                  </p:cNvPr>
                  <p:cNvGrpSpPr/>
                  <p:nvPr/>
                </p:nvGrpSpPr>
                <p:grpSpPr>
                  <a:xfrm>
                    <a:off x="8935553" y="4273670"/>
                    <a:ext cx="99111" cy="13197"/>
                    <a:chOff x="8935553" y="4273670"/>
                    <a:chExt cx="99111" cy="13197"/>
                  </a:xfrm>
                  <a:solidFill>
                    <a:srgbClr val="FFFFFF"/>
                  </a:solidFill>
                </p:grpSpPr>
                <p:sp>
                  <p:nvSpPr>
                    <p:cNvPr id="216" name="Freihandform 215">
                      <a:extLst>
                        <a:ext uri="{FF2B5EF4-FFF2-40B4-BE49-F238E27FC236}">
                          <a16:creationId xmlns:a16="http://schemas.microsoft.com/office/drawing/2014/main" id="{D0619BC7-6811-FA38-FEDD-C51A199EFE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35553" y="4273670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7" name="Freihandform 216">
                      <a:extLst>
                        <a:ext uri="{FF2B5EF4-FFF2-40B4-BE49-F238E27FC236}">
                          <a16:creationId xmlns:a16="http://schemas.microsoft.com/office/drawing/2014/main" id="{3B6F6D5A-26E6-C20B-F3B1-62DADCDB40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64189" y="4273670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8" name="Freihandform 217">
                      <a:extLst>
                        <a:ext uri="{FF2B5EF4-FFF2-40B4-BE49-F238E27FC236}">
                          <a16:creationId xmlns:a16="http://schemas.microsoft.com/office/drawing/2014/main" id="{AF2D36A4-06BF-6A73-0FC3-316D7AB034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92837" y="4273670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9" name="Freihandform 218">
                      <a:extLst>
                        <a:ext uri="{FF2B5EF4-FFF2-40B4-BE49-F238E27FC236}">
                          <a16:creationId xmlns:a16="http://schemas.microsoft.com/office/drawing/2014/main" id="{9DD08D30-9658-D6E0-D636-A16BB3477A7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21472" y="4273670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220" name="Freihandform 219">
                    <a:extLst>
                      <a:ext uri="{FF2B5EF4-FFF2-40B4-BE49-F238E27FC236}">
                        <a16:creationId xmlns:a16="http://schemas.microsoft.com/office/drawing/2014/main" id="{01B29EA8-BDAD-14C7-5012-3F2133DB1C81}"/>
                      </a:ext>
                    </a:extLst>
                  </p:cNvPr>
                  <p:cNvSpPr/>
                  <p:nvPr/>
                </p:nvSpPr>
                <p:spPr>
                  <a:xfrm>
                    <a:off x="9268601" y="4272659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8 w 15214"/>
                      <a:gd name="connsiteY1" fmla="*/ 15220 h 15219"/>
                      <a:gd name="connsiteX2" fmla="*/ 0 w 15214"/>
                      <a:gd name="connsiteY2" fmla="*/ 7610 h 15219"/>
                      <a:gd name="connsiteX3" fmla="*/ 7608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3"/>
                          <a:pt x="11809" y="15220"/>
                          <a:pt x="7608" y="15220"/>
                        </a:cubicBezTo>
                        <a:cubicBezTo>
                          <a:pt x="3407" y="15220"/>
                          <a:pt x="0" y="11813"/>
                          <a:pt x="0" y="7610"/>
                        </a:cubicBezTo>
                        <a:cubicBezTo>
                          <a:pt x="0" y="3407"/>
                          <a:pt x="3407" y="0"/>
                          <a:pt x="7608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B8DEDA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Freihandform 220">
                    <a:extLst>
                      <a:ext uri="{FF2B5EF4-FFF2-40B4-BE49-F238E27FC236}">
                        <a16:creationId xmlns:a16="http://schemas.microsoft.com/office/drawing/2014/main" id="{3E7DE4BD-27D6-00E4-404A-14A5AE8500DE}"/>
                      </a:ext>
                    </a:extLst>
                  </p:cNvPr>
                  <p:cNvSpPr/>
                  <p:nvPr/>
                </p:nvSpPr>
                <p:spPr>
                  <a:xfrm>
                    <a:off x="9297780" y="4272659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7 w 15214"/>
                      <a:gd name="connsiteY1" fmla="*/ 15220 h 15219"/>
                      <a:gd name="connsiteX2" fmla="*/ 0 w 15214"/>
                      <a:gd name="connsiteY2" fmla="*/ 7610 h 15219"/>
                      <a:gd name="connsiteX3" fmla="*/ 7607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3"/>
                          <a:pt x="11809" y="15220"/>
                          <a:pt x="7607" y="15220"/>
                        </a:cubicBezTo>
                        <a:cubicBezTo>
                          <a:pt x="3406" y="15220"/>
                          <a:pt x="0" y="11813"/>
                          <a:pt x="0" y="7610"/>
                        </a:cubicBezTo>
                        <a:cubicBezTo>
                          <a:pt x="0" y="3407"/>
                          <a:pt x="3406" y="0"/>
                          <a:pt x="7607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9BBA43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22" name="Grafik 5">
                <a:extLst>
                  <a:ext uri="{FF2B5EF4-FFF2-40B4-BE49-F238E27FC236}">
                    <a16:creationId xmlns:a16="http://schemas.microsoft.com/office/drawing/2014/main" id="{B040EE5C-DE7C-2F22-9ECB-44E8363A495F}"/>
                  </a:ext>
                </a:extLst>
              </p:cNvPr>
              <p:cNvGrpSpPr/>
              <p:nvPr/>
            </p:nvGrpSpPr>
            <p:grpSpPr>
              <a:xfrm>
                <a:off x="8918139" y="4142876"/>
                <a:ext cx="412256" cy="81811"/>
                <a:chOff x="8918139" y="4142876"/>
                <a:chExt cx="412256" cy="81811"/>
              </a:xfrm>
            </p:grpSpPr>
            <p:sp>
              <p:nvSpPr>
                <p:cNvPr id="223" name="Freihandform 222">
                  <a:extLst>
                    <a:ext uri="{FF2B5EF4-FFF2-40B4-BE49-F238E27FC236}">
                      <a16:creationId xmlns:a16="http://schemas.microsoft.com/office/drawing/2014/main" id="{6F14DF79-9A9F-5F65-BEFE-CDEAE3118CEE}"/>
                    </a:ext>
                  </a:extLst>
                </p:cNvPr>
                <p:cNvSpPr/>
                <p:nvPr/>
              </p:nvSpPr>
              <p:spPr>
                <a:xfrm>
                  <a:off x="8918139" y="4142888"/>
                  <a:ext cx="412256" cy="81798"/>
                </a:xfrm>
                <a:custGeom>
                  <a:avLst/>
                  <a:gdLst>
                    <a:gd name="connsiteX0" fmla="*/ 402412 w 412256"/>
                    <a:gd name="connsiteY0" fmla="*/ 0 h 81798"/>
                    <a:gd name="connsiteX1" fmla="*/ 412256 w 412256"/>
                    <a:gd name="connsiteY1" fmla="*/ 9847 h 81798"/>
                    <a:gd name="connsiteX2" fmla="*/ 412256 w 412256"/>
                    <a:gd name="connsiteY2" fmla="*/ 71952 h 81798"/>
                    <a:gd name="connsiteX3" fmla="*/ 402412 w 412256"/>
                    <a:gd name="connsiteY3" fmla="*/ 81799 h 81798"/>
                    <a:gd name="connsiteX4" fmla="*/ 9844 w 412256"/>
                    <a:gd name="connsiteY4" fmla="*/ 81799 h 81798"/>
                    <a:gd name="connsiteX5" fmla="*/ 0 w 412256"/>
                    <a:gd name="connsiteY5" fmla="*/ 71952 h 81798"/>
                    <a:gd name="connsiteX6" fmla="*/ 0 w 412256"/>
                    <a:gd name="connsiteY6" fmla="*/ 9847 h 81798"/>
                    <a:gd name="connsiteX7" fmla="*/ 9844 w 412256"/>
                    <a:gd name="connsiteY7" fmla="*/ 0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2256" h="81798">
                      <a:moveTo>
                        <a:pt x="402412" y="0"/>
                      </a:moveTo>
                      <a:cubicBezTo>
                        <a:pt x="407849" y="0"/>
                        <a:pt x="412256" y="4409"/>
                        <a:pt x="412256" y="9847"/>
                      </a:cubicBezTo>
                      <a:lnTo>
                        <a:pt x="412256" y="71952"/>
                      </a:lnTo>
                      <a:cubicBezTo>
                        <a:pt x="412256" y="77390"/>
                        <a:pt x="407849" y="81799"/>
                        <a:pt x="402412" y="81799"/>
                      </a:cubicBezTo>
                      <a:lnTo>
                        <a:pt x="9844" y="81799"/>
                      </a:lnTo>
                      <a:cubicBezTo>
                        <a:pt x="4407" y="81799"/>
                        <a:pt x="0" y="77390"/>
                        <a:pt x="0" y="71952"/>
                      </a:cubicBezTo>
                      <a:lnTo>
                        <a:pt x="0" y="9847"/>
                      </a:lnTo>
                      <a:cubicBezTo>
                        <a:pt x="0" y="4409"/>
                        <a:pt x="4407" y="0"/>
                        <a:pt x="9844" y="0"/>
                      </a:cubicBezTo>
                      <a:close/>
                    </a:path>
                  </a:pathLst>
                </a:custGeom>
                <a:solidFill>
                  <a:srgbClr val="0A8276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4" name="Freihandform 223">
                  <a:extLst>
                    <a:ext uri="{FF2B5EF4-FFF2-40B4-BE49-F238E27FC236}">
                      <a16:creationId xmlns:a16="http://schemas.microsoft.com/office/drawing/2014/main" id="{73826410-5077-A558-923A-A5599E31789D}"/>
                    </a:ext>
                  </a:extLst>
                </p:cNvPr>
                <p:cNvSpPr/>
                <p:nvPr/>
              </p:nvSpPr>
              <p:spPr>
                <a:xfrm>
                  <a:off x="9204392" y="4142876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5">
                  <a:extLst>
                    <a:ext uri="{FF2B5EF4-FFF2-40B4-BE49-F238E27FC236}">
                      <a16:creationId xmlns:a16="http://schemas.microsoft.com/office/drawing/2014/main" id="{B4991A2C-6D35-6891-A6A3-F6B42EF1A81E}"/>
                    </a:ext>
                  </a:extLst>
                </p:cNvPr>
                <p:cNvGrpSpPr/>
                <p:nvPr/>
              </p:nvGrpSpPr>
              <p:grpSpPr>
                <a:xfrm>
                  <a:off x="8935553" y="4176184"/>
                  <a:ext cx="377441" cy="15219"/>
                  <a:chOff x="8935553" y="4176184"/>
                  <a:chExt cx="377441" cy="15219"/>
                </a:xfrm>
              </p:grpSpPr>
              <p:grpSp>
                <p:nvGrpSpPr>
                  <p:cNvPr id="226" name="Grafik 5">
                    <a:extLst>
                      <a:ext uri="{FF2B5EF4-FFF2-40B4-BE49-F238E27FC236}">
                        <a16:creationId xmlns:a16="http://schemas.microsoft.com/office/drawing/2014/main" id="{EB05B306-54C5-11A0-B99E-C93A5E0EA18D}"/>
                      </a:ext>
                    </a:extLst>
                  </p:cNvPr>
                  <p:cNvGrpSpPr/>
                  <p:nvPr/>
                </p:nvGrpSpPr>
                <p:grpSpPr>
                  <a:xfrm>
                    <a:off x="8935553" y="4177196"/>
                    <a:ext cx="99111" cy="13197"/>
                    <a:chOff x="8935553" y="4177196"/>
                    <a:chExt cx="99111" cy="13197"/>
                  </a:xfrm>
                  <a:solidFill>
                    <a:srgbClr val="FFFFFF"/>
                  </a:solidFill>
                </p:grpSpPr>
                <p:sp>
                  <p:nvSpPr>
                    <p:cNvPr id="227" name="Freihandform 226">
                      <a:extLst>
                        <a:ext uri="{FF2B5EF4-FFF2-40B4-BE49-F238E27FC236}">
                          <a16:creationId xmlns:a16="http://schemas.microsoft.com/office/drawing/2014/main" id="{7CC6DDF4-AC67-546A-BD8E-BA721F745F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35553" y="4177196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8" name="Freihandform 227">
                      <a:extLst>
                        <a:ext uri="{FF2B5EF4-FFF2-40B4-BE49-F238E27FC236}">
                          <a16:creationId xmlns:a16="http://schemas.microsoft.com/office/drawing/2014/main" id="{79BA882A-DEE7-D3EF-E828-52D0F49F0A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64189" y="4177196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9" name="Freihandform 228">
                      <a:extLst>
                        <a:ext uri="{FF2B5EF4-FFF2-40B4-BE49-F238E27FC236}">
                          <a16:creationId xmlns:a16="http://schemas.microsoft.com/office/drawing/2014/main" id="{F050168A-0E63-287D-859F-B795EE8956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92837" y="4177196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0" name="Freihandform 229">
                      <a:extLst>
                        <a:ext uri="{FF2B5EF4-FFF2-40B4-BE49-F238E27FC236}">
                          <a16:creationId xmlns:a16="http://schemas.microsoft.com/office/drawing/2014/main" id="{FCF28D57-41BF-4050-4F2F-79BC09AE73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21472" y="4177196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231" name="Freihandform 230">
                    <a:extLst>
                      <a:ext uri="{FF2B5EF4-FFF2-40B4-BE49-F238E27FC236}">
                        <a16:creationId xmlns:a16="http://schemas.microsoft.com/office/drawing/2014/main" id="{CC0297F4-E96C-73C2-84C1-72D66593B7C8}"/>
                      </a:ext>
                    </a:extLst>
                  </p:cNvPr>
                  <p:cNvSpPr/>
                  <p:nvPr/>
                </p:nvSpPr>
                <p:spPr>
                  <a:xfrm>
                    <a:off x="9268601" y="4176184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8 w 15214"/>
                      <a:gd name="connsiteY1" fmla="*/ 15220 h 15219"/>
                      <a:gd name="connsiteX2" fmla="*/ 0 w 15214"/>
                      <a:gd name="connsiteY2" fmla="*/ 7610 h 15219"/>
                      <a:gd name="connsiteX3" fmla="*/ 7608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2"/>
                          <a:pt x="11809" y="15220"/>
                          <a:pt x="7608" y="15220"/>
                        </a:cubicBezTo>
                        <a:cubicBezTo>
                          <a:pt x="3407" y="15220"/>
                          <a:pt x="0" y="11812"/>
                          <a:pt x="0" y="7610"/>
                        </a:cubicBezTo>
                        <a:cubicBezTo>
                          <a:pt x="0" y="3407"/>
                          <a:pt x="3407" y="0"/>
                          <a:pt x="7608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B8DEDA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2" name="Freihandform 231">
                    <a:extLst>
                      <a:ext uri="{FF2B5EF4-FFF2-40B4-BE49-F238E27FC236}">
                        <a16:creationId xmlns:a16="http://schemas.microsoft.com/office/drawing/2014/main" id="{93474D94-1BFF-6B1C-5F7E-DEE6701EC8EA}"/>
                      </a:ext>
                    </a:extLst>
                  </p:cNvPr>
                  <p:cNvSpPr/>
                  <p:nvPr/>
                </p:nvSpPr>
                <p:spPr>
                  <a:xfrm>
                    <a:off x="9297780" y="4176184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7 w 15214"/>
                      <a:gd name="connsiteY1" fmla="*/ 15220 h 15219"/>
                      <a:gd name="connsiteX2" fmla="*/ 0 w 15214"/>
                      <a:gd name="connsiteY2" fmla="*/ 7610 h 15219"/>
                      <a:gd name="connsiteX3" fmla="*/ 7607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2"/>
                          <a:pt x="11809" y="15220"/>
                          <a:pt x="7607" y="15220"/>
                        </a:cubicBezTo>
                        <a:cubicBezTo>
                          <a:pt x="3406" y="15220"/>
                          <a:pt x="0" y="11812"/>
                          <a:pt x="0" y="7610"/>
                        </a:cubicBezTo>
                        <a:cubicBezTo>
                          <a:pt x="0" y="3407"/>
                          <a:pt x="3406" y="0"/>
                          <a:pt x="7607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9BBA43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33" name="Grafik 5">
                <a:extLst>
                  <a:ext uri="{FF2B5EF4-FFF2-40B4-BE49-F238E27FC236}">
                    <a16:creationId xmlns:a16="http://schemas.microsoft.com/office/drawing/2014/main" id="{3777CDE9-0DE4-0683-482B-031F80833981}"/>
                  </a:ext>
                </a:extLst>
              </p:cNvPr>
              <p:cNvGrpSpPr/>
              <p:nvPr/>
            </p:nvGrpSpPr>
            <p:grpSpPr>
              <a:xfrm>
                <a:off x="8918139" y="4046401"/>
                <a:ext cx="412256" cy="81811"/>
                <a:chOff x="8918139" y="4046401"/>
                <a:chExt cx="412256" cy="81811"/>
              </a:xfrm>
            </p:grpSpPr>
            <p:sp>
              <p:nvSpPr>
                <p:cNvPr id="234" name="Freihandform 233">
                  <a:extLst>
                    <a:ext uri="{FF2B5EF4-FFF2-40B4-BE49-F238E27FC236}">
                      <a16:creationId xmlns:a16="http://schemas.microsoft.com/office/drawing/2014/main" id="{41BA6C1B-B8C0-E60D-2F94-201ABB39BDEE}"/>
                    </a:ext>
                  </a:extLst>
                </p:cNvPr>
                <p:cNvSpPr/>
                <p:nvPr/>
              </p:nvSpPr>
              <p:spPr>
                <a:xfrm>
                  <a:off x="8918139" y="4046414"/>
                  <a:ext cx="412256" cy="81798"/>
                </a:xfrm>
                <a:custGeom>
                  <a:avLst/>
                  <a:gdLst>
                    <a:gd name="connsiteX0" fmla="*/ 402412 w 412256"/>
                    <a:gd name="connsiteY0" fmla="*/ 0 h 81798"/>
                    <a:gd name="connsiteX1" fmla="*/ 412256 w 412256"/>
                    <a:gd name="connsiteY1" fmla="*/ 9847 h 81798"/>
                    <a:gd name="connsiteX2" fmla="*/ 412256 w 412256"/>
                    <a:gd name="connsiteY2" fmla="*/ 71952 h 81798"/>
                    <a:gd name="connsiteX3" fmla="*/ 402412 w 412256"/>
                    <a:gd name="connsiteY3" fmla="*/ 81799 h 81798"/>
                    <a:gd name="connsiteX4" fmla="*/ 9844 w 412256"/>
                    <a:gd name="connsiteY4" fmla="*/ 81799 h 81798"/>
                    <a:gd name="connsiteX5" fmla="*/ 0 w 412256"/>
                    <a:gd name="connsiteY5" fmla="*/ 71952 h 81798"/>
                    <a:gd name="connsiteX6" fmla="*/ 0 w 412256"/>
                    <a:gd name="connsiteY6" fmla="*/ 9847 h 81798"/>
                    <a:gd name="connsiteX7" fmla="*/ 9844 w 412256"/>
                    <a:gd name="connsiteY7" fmla="*/ 0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2256" h="81798">
                      <a:moveTo>
                        <a:pt x="402412" y="0"/>
                      </a:moveTo>
                      <a:cubicBezTo>
                        <a:pt x="407849" y="0"/>
                        <a:pt x="412256" y="4409"/>
                        <a:pt x="412256" y="9847"/>
                      </a:cubicBezTo>
                      <a:lnTo>
                        <a:pt x="412256" y="71952"/>
                      </a:lnTo>
                      <a:cubicBezTo>
                        <a:pt x="412256" y="77390"/>
                        <a:pt x="407849" y="81799"/>
                        <a:pt x="402412" y="81799"/>
                      </a:cubicBezTo>
                      <a:lnTo>
                        <a:pt x="9844" y="81799"/>
                      </a:lnTo>
                      <a:cubicBezTo>
                        <a:pt x="4407" y="81799"/>
                        <a:pt x="0" y="77390"/>
                        <a:pt x="0" y="71952"/>
                      </a:cubicBezTo>
                      <a:lnTo>
                        <a:pt x="0" y="9847"/>
                      </a:lnTo>
                      <a:cubicBezTo>
                        <a:pt x="0" y="4409"/>
                        <a:pt x="4407" y="0"/>
                        <a:pt x="9844" y="0"/>
                      </a:cubicBezTo>
                      <a:close/>
                    </a:path>
                  </a:pathLst>
                </a:custGeom>
                <a:solidFill>
                  <a:srgbClr val="0A8276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5" name="Freihandform 234">
                  <a:extLst>
                    <a:ext uri="{FF2B5EF4-FFF2-40B4-BE49-F238E27FC236}">
                      <a16:creationId xmlns:a16="http://schemas.microsoft.com/office/drawing/2014/main" id="{217FCA25-326A-FA69-0263-E32F4A120EE6}"/>
                    </a:ext>
                  </a:extLst>
                </p:cNvPr>
                <p:cNvSpPr/>
                <p:nvPr/>
              </p:nvSpPr>
              <p:spPr>
                <a:xfrm>
                  <a:off x="9204392" y="4046401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36" name="Grafik 5">
                  <a:extLst>
                    <a:ext uri="{FF2B5EF4-FFF2-40B4-BE49-F238E27FC236}">
                      <a16:creationId xmlns:a16="http://schemas.microsoft.com/office/drawing/2014/main" id="{9734B860-62FF-5FD5-615B-0D4CFEB969F4}"/>
                    </a:ext>
                  </a:extLst>
                </p:cNvPr>
                <p:cNvGrpSpPr/>
                <p:nvPr/>
              </p:nvGrpSpPr>
              <p:grpSpPr>
                <a:xfrm>
                  <a:off x="8935553" y="4079697"/>
                  <a:ext cx="377441" cy="15219"/>
                  <a:chOff x="8935553" y="4079697"/>
                  <a:chExt cx="377441" cy="15219"/>
                </a:xfrm>
              </p:grpSpPr>
              <p:grpSp>
                <p:nvGrpSpPr>
                  <p:cNvPr id="237" name="Grafik 5">
                    <a:extLst>
                      <a:ext uri="{FF2B5EF4-FFF2-40B4-BE49-F238E27FC236}">
                        <a16:creationId xmlns:a16="http://schemas.microsoft.com/office/drawing/2014/main" id="{7404A66A-3FCF-5A37-8441-7C0F13CB8F80}"/>
                      </a:ext>
                    </a:extLst>
                  </p:cNvPr>
                  <p:cNvGrpSpPr/>
                  <p:nvPr/>
                </p:nvGrpSpPr>
                <p:grpSpPr>
                  <a:xfrm>
                    <a:off x="8935553" y="4080708"/>
                    <a:ext cx="99111" cy="13197"/>
                    <a:chOff x="8935553" y="4080708"/>
                    <a:chExt cx="99111" cy="13197"/>
                  </a:xfrm>
                  <a:solidFill>
                    <a:srgbClr val="FFFFFF"/>
                  </a:solidFill>
                </p:grpSpPr>
                <p:sp>
                  <p:nvSpPr>
                    <p:cNvPr id="238" name="Freihandform 237">
                      <a:extLst>
                        <a:ext uri="{FF2B5EF4-FFF2-40B4-BE49-F238E27FC236}">
                          <a16:creationId xmlns:a16="http://schemas.microsoft.com/office/drawing/2014/main" id="{E818C2B8-E6E2-EC1F-AB87-51D5BD0BFF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35553" y="4080708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9" name="Freihandform 238">
                      <a:extLst>
                        <a:ext uri="{FF2B5EF4-FFF2-40B4-BE49-F238E27FC236}">
                          <a16:creationId xmlns:a16="http://schemas.microsoft.com/office/drawing/2014/main" id="{1C5369C9-77D1-9177-044B-3D2BA60348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64189" y="4080708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40" name="Freihandform 239">
                      <a:extLst>
                        <a:ext uri="{FF2B5EF4-FFF2-40B4-BE49-F238E27FC236}">
                          <a16:creationId xmlns:a16="http://schemas.microsoft.com/office/drawing/2014/main" id="{F54C182A-DA47-23C6-280D-FC10878664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92837" y="4080708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41" name="Freihandform 240">
                      <a:extLst>
                        <a:ext uri="{FF2B5EF4-FFF2-40B4-BE49-F238E27FC236}">
                          <a16:creationId xmlns:a16="http://schemas.microsoft.com/office/drawing/2014/main" id="{CF163C0A-6A45-D05F-E088-D6A4B72DC9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21472" y="4080708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242" name="Freihandform 241">
                    <a:extLst>
                      <a:ext uri="{FF2B5EF4-FFF2-40B4-BE49-F238E27FC236}">
                        <a16:creationId xmlns:a16="http://schemas.microsoft.com/office/drawing/2014/main" id="{FAA67204-6855-6096-4281-30B142E0FA54}"/>
                      </a:ext>
                    </a:extLst>
                  </p:cNvPr>
                  <p:cNvSpPr/>
                  <p:nvPr/>
                </p:nvSpPr>
                <p:spPr>
                  <a:xfrm>
                    <a:off x="9268601" y="4079697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8 w 15214"/>
                      <a:gd name="connsiteY1" fmla="*/ 15220 h 15219"/>
                      <a:gd name="connsiteX2" fmla="*/ 0 w 15214"/>
                      <a:gd name="connsiteY2" fmla="*/ 7610 h 15219"/>
                      <a:gd name="connsiteX3" fmla="*/ 7608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3"/>
                          <a:pt x="11809" y="15220"/>
                          <a:pt x="7608" y="15220"/>
                        </a:cubicBezTo>
                        <a:cubicBezTo>
                          <a:pt x="3407" y="15220"/>
                          <a:pt x="0" y="11813"/>
                          <a:pt x="0" y="7610"/>
                        </a:cubicBezTo>
                        <a:cubicBezTo>
                          <a:pt x="0" y="3407"/>
                          <a:pt x="3407" y="0"/>
                          <a:pt x="7608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B8DEDA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3" name="Freihandform 242">
                    <a:extLst>
                      <a:ext uri="{FF2B5EF4-FFF2-40B4-BE49-F238E27FC236}">
                        <a16:creationId xmlns:a16="http://schemas.microsoft.com/office/drawing/2014/main" id="{204B023B-5152-2C33-EB5B-D019A8A8F3D6}"/>
                      </a:ext>
                    </a:extLst>
                  </p:cNvPr>
                  <p:cNvSpPr/>
                  <p:nvPr/>
                </p:nvSpPr>
                <p:spPr>
                  <a:xfrm>
                    <a:off x="9297780" y="4079697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7 w 15214"/>
                      <a:gd name="connsiteY1" fmla="*/ 15220 h 15219"/>
                      <a:gd name="connsiteX2" fmla="*/ 0 w 15214"/>
                      <a:gd name="connsiteY2" fmla="*/ 7610 h 15219"/>
                      <a:gd name="connsiteX3" fmla="*/ 7607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3"/>
                          <a:pt x="11809" y="15220"/>
                          <a:pt x="7607" y="15220"/>
                        </a:cubicBezTo>
                        <a:cubicBezTo>
                          <a:pt x="3406" y="15220"/>
                          <a:pt x="0" y="11813"/>
                          <a:pt x="0" y="7610"/>
                        </a:cubicBezTo>
                        <a:cubicBezTo>
                          <a:pt x="0" y="3407"/>
                          <a:pt x="3406" y="0"/>
                          <a:pt x="7607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9BBA43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4" name="Grafik 5">
                <a:extLst>
                  <a:ext uri="{FF2B5EF4-FFF2-40B4-BE49-F238E27FC236}">
                    <a16:creationId xmlns:a16="http://schemas.microsoft.com/office/drawing/2014/main" id="{E25DDC87-8EC1-965E-FB65-6FF97DD7E6DC}"/>
                  </a:ext>
                </a:extLst>
              </p:cNvPr>
              <p:cNvGrpSpPr/>
              <p:nvPr/>
            </p:nvGrpSpPr>
            <p:grpSpPr>
              <a:xfrm>
                <a:off x="8918139" y="3949926"/>
                <a:ext cx="412256" cy="81798"/>
                <a:chOff x="8918139" y="3949926"/>
                <a:chExt cx="412256" cy="81798"/>
              </a:xfrm>
            </p:grpSpPr>
            <p:sp>
              <p:nvSpPr>
                <p:cNvPr id="245" name="Freihandform 244">
                  <a:extLst>
                    <a:ext uri="{FF2B5EF4-FFF2-40B4-BE49-F238E27FC236}">
                      <a16:creationId xmlns:a16="http://schemas.microsoft.com/office/drawing/2014/main" id="{4286FFE7-9F6B-E340-E0BF-654519621CF1}"/>
                    </a:ext>
                  </a:extLst>
                </p:cNvPr>
                <p:cNvSpPr/>
                <p:nvPr/>
              </p:nvSpPr>
              <p:spPr>
                <a:xfrm>
                  <a:off x="8918139" y="3949926"/>
                  <a:ext cx="412256" cy="81798"/>
                </a:xfrm>
                <a:custGeom>
                  <a:avLst/>
                  <a:gdLst>
                    <a:gd name="connsiteX0" fmla="*/ 402412 w 412256"/>
                    <a:gd name="connsiteY0" fmla="*/ 0 h 81798"/>
                    <a:gd name="connsiteX1" fmla="*/ 412256 w 412256"/>
                    <a:gd name="connsiteY1" fmla="*/ 9847 h 81798"/>
                    <a:gd name="connsiteX2" fmla="*/ 412256 w 412256"/>
                    <a:gd name="connsiteY2" fmla="*/ 71952 h 81798"/>
                    <a:gd name="connsiteX3" fmla="*/ 402412 w 412256"/>
                    <a:gd name="connsiteY3" fmla="*/ 81799 h 81798"/>
                    <a:gd name="connsiteX4" fmla="*/ 9844 w 412256"/>
                    <a:gd name="connsiteY4" fmla="*/ 81799 h 81798"/>
                    <a:gd name="connsiteX5" fmla="*/ 0 w 412256"/>
                    <a:gd name="connsiteY5" fmla="*/ 71952 h 81798"/>
                    <a:gd name="connsiteX6" fmla="*/ 0 w 412256"/>
                    <a:gd name="connsiteY6" fmla="*/ 9847 h 81798"/>
                    <a:gd name="connsiteX7" fmla="*/ 9844 w 412256"/>
                    <a:gd name="connsiteY7" fmla="*/ 0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2256" h="81798">
                      <a:moveTo>
                        <a:pt x="402412" y="0"/>
                      </a:moveTo>
                      <a:cubicBezTo>
                        <a:pt x="407849" y="0"/>
                        <a:pt x="412256" y="4409"/>
                        <a:pt x="412256" y="9847"/>
                      </a:cubicBezTo>
                      <a:lnTo>
                        <a:pt x="412256" y="71952"/>
                      </a:lnTo>
                      <a:cubicBezTo>
                        <a:pt x="412256" y="77390"/>
                        <a:pt x="407849" y="81799"/>
                        <a:pt x="402412" y="81799"/>
                      </a:cubicBezTo>
                      <a:lnTo>
                        <a:pt x="9844" y="81799"/>
                      </a:lnTo>
                      <a:cubicBezTo>
                        <a:pt x="4407" y="81799"/>
                        <a:pt x="0" y="77390"/>
                        <a:pt x="0" y="71952"/>
                      </a:cubicBezTo>
                      <a:lnTo>
                        <a:pt x="0" y="9847"/>
                      </a:lnTo>
                      <a:cubicBezTo>
                        <a:pt x="0" y="4409"/>
                        <a:pt x="4407" y="0"/>
                        <a:pt x="9844" y="0"/>
                      </a:cubicBezTo>
                      <a:close/>
                    </a:path>
                  </a:pathLst>
                </a:custGeom>
                <a:solidFill>
                  <a:srgbClr val="0A8276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6" name="Freihandform 245">
                  <a:extLst>
                    <a:ext uri="{FF2B5EF4-FFF2-40B4-BE49-F238E27FC236}">
                      <a16:creationId xmlns:a16="http://schemas.microsoft.com/office/drawing/2014/main" id="{72B22570-C29F-EFD8-DE61-EB373B1B83FB}"/>
                    </a:ext>
                  </a:extLst>
                </p:cNvPr>
                <p:cNvSpPr/>
                <p:nvPr/>
              </p:nvSpPr>
              <p:spPr>
                <a:xfrm>
                  <a:off x="9204392" y="3949926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47" name="Grafik 5">
                  <a:extLst>
                    <a:ext uri="{FF2B5EF4-FFF2-40B4-BE49-F238E27FC236}">
                      <a16:creationId xmlns:a16="http://schemas.microsoft.com/office/drawing/2014/main" id="{127B40FE-DDF1-EECF-8638-F595950B3EF9}"/>
                    </a:ext>
                  </a:extLst>
                </p:cNvPr>
                <p:cNvGrpSpPr/>
                <p:nvPr/>
              </p:nvGrpSpPr>
              <p:grpSpPr>
                <a:xfrm>
                  <a:off x="8935553" y="3983222"/>
                  <a:ext cx="377441" cy="15219"/>
                  <a:chOff x="8935553" y="3983222"/>
                  <a:chExt cx="377441" cy="15219"/>
                </a:xfrm>
              </p:grpSpPr>
              <p:grpSp>
                <p:nvGrpSpPr>
                  <p:cNvPr id="248" name="Grafik 5">
                    <a:extLst>
                      <a:ext uri="{FF2B5EF4-FFF2-40B4-BE49-F238E27FC236}">
                        <a16:creationId xmlns:a16="http://schemas.microsoft.com/office/drawing/2014/main" id="{68E3BC8E-CAE4-8A61-997C-46ED5432F83E}"/>
                      </a:ext>
                    </a:extLst>
                  </p:cNvPr>
                  <p:cNvGrpSpPr/>
                  <p:nvPr/>
                </p:nvGrpSpPr>
                <p:grpSpPr>
                  <a:xfrm>
                    <a:off x="8935553" y="3984233"/>
                    <a:ext cx="99111" cy="13197"/>
                    <a:chOff x="8935553" y="3984233"/>
                    <a:chExt cx="99111" cy="13197"/>
                  </a:xfrm>
                  <a:solidFill>
                    <a:srgbClr val="FFFFFF"/>
                  </a:solidFill>
                </p:grpSpPr>
                <p:sp>
                  <p:nvSpPr>
                    <p:cNvPr id="249" name="Freihandform 248">
                      <a:extLst>
                        <a:ext uri="{FF2B5EF4-FFF2-40B4-BE49-F238E27FC236}">
                          <a16:creationId xmlns:a16="http://schemas.microsoft.com/office/drawing/2014/main" id="{CD75E28C-F677-D3FD-66EC-A5DDFB4988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35553" y="3984233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0" name="Freihandform 249">
                      <a:extLst>
                        <a:ext uri="{FF2B5EF4-FFF2-40B4-BE49-F238E27FC236}">
                          <a16:creationId xmlns:a16="http://schemas.microsoft.com/office/drawing/2014/main" id="{D331EFAE-DCA1-2234-A233-1CBA3E91C2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64189" y="3984233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1" name="Freihandform 250">
                      <a:extLst>
                        <a:ext uri="{FF2B5EF4-FFF2-40B4-BE49-F238E27FC236}">
                          <a16:creationId xmlns:a16="http://schemas.microsoft.com/office/drawing/2014/main" id="{587E0346-36DE-AA79-391C-01E839F7E5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92837" y="3984233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2" name="Freihandform 251">
                      <a:extLst>
                        <a:ext uri="{FF2B5EF4-FFF2-40B4-BE49-F238E27FC236}">
                          <a16:creationId xmlns:a16="http://schemas.microsoft.com/office/drawing/2014/main" id="{A7F3A001-C76C-3313-97AF-8963E1E830F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21472" y="3984233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253" name="Freihandform 252">
                    <a:extLst>
                      <a:ext uri="{FF2B5EF4-FFF2-40B4-BE49-F238E27FC236}">
                        <a16:creationId xmlns:a16="http://schemas.microsoft.com/office/drawing/2014/main" id="{17345DE1-261A-9C9F-1EEB-354233BC27E6}"/>
                      </a:ext>
                    </a:extLst>
                  </p:cNvPr>
                  <p:cNvSpPr/>
                  <p:nvPr/>
                </p:nvSpPr>
                <p:spPr>
                  <a:xfrm>
                    <a:off x="9268601" y="3983222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8 w 15214"/>
                      <a:gd name="connsiteY1" fmla="*/ 15220 h 15219"/>
                      <a:gd name="connsiteX2" fmla="*/ 0 w 15214"/>
                      <a:gd name="connsiteY2" fmla="*/ 7610 h 15219"/>
                      <a:gd name="connsiteX3" fmla="*/ 7608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2"/>
                          <a:pt x="11809" y="15220"/>
                          <a:pt x="7608" y="15220"/>
                        </a:cubicBezTo>
                        <a:cubicBezTo>
                          <a:pt x="3407" y="15220"/>
                          <a:pt x="0" y="11812"/>
                          <a:pt x="0" y="7610"/>
                        </a:cubicBezTo>
                        <a:cubicBezTo>
                          <a:pt x="0" y="3407"/>
                          <a:pt x="3407" y="0"/>
                          <a:pt x="7608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B8DEDA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4" name="Freihandform 253">
                    <a:extLst>
                      <a:ext uri="{FF2B5EF4-FFF2-40B4-BE49-F238E27FC236}">
                        <a16:creationId xmlns:a16="http://schemas.microsoft.com/office/drawing/2014/main" id="{0D2101C2-E55A-9A5D-03E1-CF37149A0328}"/>
                      </a:ext>
                    </a:extLst>
                  </p:cNvPr>
                  <p:cNvSpPr/>
                  <p:nvPr/>
                </p:nvSpPr>
                <p:spPr>
                  <a:xfrm>
                    <a:off x="9297780" y="3983222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7 w 15214"/>
                      <a:gd name="connsiteY1" fmla="*/ 15220 h 15219"/>
                      <a:gd name="connsiteX2" fmla="*/ 0 w 15214"/>
                      <a:gd name="connsiteY2" fmla="*/ 7610 h 15219"/>
                      <a:gd name="connsiteX3" fmla="*/ 7607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2"/>
                          <a:pt x="11809" y="15220"/>
                          <a:pt x="7607" y="15220"/>
                        </a:cubicBezTo>
                        <a:cubicBezTo>
                          <a:pt x="3406" y="15220"/>
                          <a:pt x="0" y="11812"/>
                          <a:pt x="0" y="7610"/>
                        </a:cubicBezTo>
                        <a:cubicBezTo>
                          <a:pt x="0" y="3407"/>
                          <a:pt x="3406" y="0"/>
                          <a:pt x="7607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9BBA43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55" name="Grafik 5">
            <a:extLst>
              <a:ext uri="{FF2B5EF4-FFF2-40B4-BE49-F238E27FC236}">
                <a16:creationId xmlns:a16="http://schemas.microsoft.com/office/drawing/2014/main" id="{95127564-A0F4-0B34-87D0-C655E05112A2}"/>
              </a:ext>
            </a:extLst>
          </p:cNvPr>
          <p:cNvGrpSpPr/>
          <p:nvPr/>
        </p:nvGrpSpPr>
        <p:grpSpPr>
          <a:xfrm>
            <a:off x="7743059" y="4144822"/>
            <a:ext cx="500784" cy="189081"/>
            <a:chOff x="7743059" y="4144822"/>
            <a:chExt cx="500784" cy="189081"/>
          </a:xfrm>
        </p:grpSpPr>
        <p:sp>
          <p:nvSpPr>
            <p:cNvPr id="256" name="Freihandform 255">
              <a:extLst>
                <a:ext uri="{FF2B5EF4-FFF2-40B4-BE49-F238E27FC236}">
                  <a16:creationId xmlns:a16="http://schemas.microsoft.com/office/drawing/2014/main" id="{6292F090-A954-670B-BF82-A4153C9A7015}"/>
                </a:ext>
              </a:extLst>
            </p:cNvPr>
            <p:cNvSpPr/>
            <p:nvPr/>
          </p:nvSpPr>
          <p:spPr>
            <a:xfrm>
              <a:off x="7743059" y="4303895"/>
              <a:ext cx="500784" cy="30009"/>
            </a:xfrm>
            <a:custGeom>
              <a:avLst/>
              <a:gdLst>
                <a:gd name="connsiteX0" fmla="*/ 451866 w 500784"/>
                <a:gd name="connsiteY0" fmla="*/ 0 h 30009"/>
                <a:gd name="connsiteX1" fmla="*/ 48935 w 500784"/>
                <a:gd name="connsiteY1" fmla="*/ 0 h 30009"/>
                <a:gd name="connsiteX2" fmla="*/ 21424 w 500784"/>
                <a:gd name="connsiteY2" fmla="*/ 7104 h 30009"/>
                <a:gd name="connsiteX3" fmla="*/ 3606 w 500784"/>
                <a:gd name="connsiteY3" fmla="*/ 16951 h 30009"/>
                <a:gd name="connsiteX4" fmla="*/ 6980 w 500784"/>
                <a:gd name="connsiteY4" fmla="*/ 30009 h 30009"/>
                <a:gd name="connsiteX5" fmla="*/ 493808 w 500784"/>
                <a:gd name="connsiteY5" fmla="*/ 30009 h 30009"/>
                <a:gd name="connsiteX6" fmla="*/ 497182 w 500784"/>
                <a:gd name="connsiteY6" fmla="*/ 16951 h 30009"/>
                <a:gd name="connsiteX7" fmla="*/ 479363 w 500784"/>
                <a:gd name="connsiteY7" fmla="*/ 7104 h 30009"/>
                <a:gd name="connsiteX8" fmla="*/ 451853 w 500784"/>
                <a:gd name="connsiteY8" fmla="*/ 0 h 3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784" h="30009">
                  <a:moveTo>
                    <a:pt x="451866" y="0"/>
                  </a:moveTo>
                  <a:lnTo>
                    <a:pt x="48935" y="0"/>
                  </a:lnTo>
                  <a:cubicBezTo>
                    <a:pt x="39319" y="0"/>
                    <a:pt x="29853" y="2440"/>
                    <a:pt x="21424" y="7104"/>
                  </a:cubicBezTo>
                  <a:lnTo>
                    <a:pt x="3606" y="16951"/>
                  </a:lnTo>
                  <a:cubicBezTo>
                    <a:pt x="-2687" y="20428"/>
                    <a:pt x="-223" y="30009"/>
                    <a:pt x="6980" y="30009"/>
                  </a:cubicBezTo>
                  <a:lnTo>
                    <a:pt x="493808" y="30009"/>
                  </a:lnTo>
                  <a:cubicBezTo>
                    <a:pt x="500998" y="30009"/>
                    <a:pt x="503475" y="20428"/>
                    <a:pt x="497182" y="16951"/>
                  </a:cubicBezTo>
                  <a:lnTo>
                    <a:pt x="479363" y="7104"/>
                  </a:lnTo>
                  <a:cubicBezTo>
                    <a:pt x="470947" y="2452"/>
                    <a:pt x="461482" y="0"/>
                    <a:pt x="451853" y="0"/>
                  </a:cubicBezTo>
                  <a:close/>
                </a:path>
              </a:pathLst>
            </a:custGeom>
            <a:solidFill>
              <a:srgbClr val="6CB4A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7" name="Freihandform 256">
              <a:extLst>
                <a:ext uri="{FF2B5EF4-FFF2-40B4-BE49-F238E27FC236}">
                  <a16:creationId xmlns:a16="http://schemas.microsoft.com/office/drawing/2014/main" id="{952B2F10-8CA9-59B2-B76C-6CBF91006E94}"/>
                </a:ext>
              </a:extLst>
            </p:cNvPr>
            <p:cNvSpPr/>
            <p:nvPr/>
          </p:nvSpPr>
          <p:spPr>
            <a:xfrm>
              <a:off x="7800322" y="4185728"/>
              <a:ext cx="386249" cy="137380"/>
            </a:xfrm>
            <a:custGeom>
              <a:avLst/>
              <a:gdLst>
                <a:gd name="connsiteX0" fmla="*/ 0 w 386249"/>
                <a:gd name="connsiteY0" fmla="*/ 0 h 137380"/>
                <a:gd name="connsiteX1" fmla="*/ 386250 w 386249"/>
                <a:gd name="connsiteY1" fmla="*/ 0 h 137380"/>
                <a:gd name="connsiteX2" fmla="*/ 386250 w 386249"/>
                <a:gd name="connsiteY2" fmla="*/ 137380 h 137380"/>
                <a:gd name="connsiteX3" fmla="*/ 0 w 386249"/>
                <a:gd name="connsiteY3" fmla="*/ 137380 h 137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249" h="137380">
                  <a:moveTo>
                    <a:pt x="0" y="0"/>
                  </a:moveTo>
                  <a:lnTo>
                    <a:pt x="386250" y="0"/>
                  </a:lnTo>
                  <a:lnTo>
                    <a:pt x="386250" y="137380"/>
                  </a:lnTo>
                  <a:lnTo>
                    <a:pt x="0" y="137380"/>
                  </a:lnTo>
                  <a:close/>
                </a:path>
              </a:pathLst>
            </a:custGeom>
            <a:solidFill>
              <a:srgbClr val="06534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58" name="Grafik 5">
              <a:extLst>
                <a:ext uri="{FF2B5EF4-FFF2-40B4-BE49-F238E27FC236}">
                  <a16:creationId xmlns:a16="http://schemas.microsoft.com/office/drawing/2014/main" id="{ED92CF2D-C879-D4E3-2001-16FB4C438CAB}"/>
                </a:ext>
              </a:extLst>
            </p:cNvPr>
            <p:cNvGrpSpPr/>
            <p:nvPr/>
          </p:nvGrpSpPr>
          <p:grpSpPr>
            <a:xfrm>
              <a:off x="7787331" y="4241297"/>
              <a:ext cx="412256" cy="81798"/>
              <a:chOff x="7787331" y="4241297"/>
              <a:chExt cx="412256" cy="81798"/>
            </a:xfrm>
          </p:grpSpPr>
          <p:sp>
            <p:nvSpPr>
              <p:cNvPr id="259" name="Freihandform 258">
                <a:extLst>
                  <a:ext uri="{FF2B5EF4-FFF2-40B4-BE49-F238E27FC236}">
                    <a16:creationId xmlns:a16="http://schemas.microsoft.com/office/drawing/2014/main" id="{E941E165-6C63-FCEC-60A5-1C4F73FFEC26}"/>
                  </a:ext>
                </a:extLst>
              </p:cNvPr>
              <p:cNvSpPr/>
              <p:nvPr/>
            </p:nvSpPr>
            <p:spPr>
              <a:xfrm>
                <a:off x="7787331" y="4241297"/>
                <a:ext cx="412256" cy="81798"/>
              </a:xfrm>
              <a:custGeom>
                <a:avLst/>
                <a:gdLst>
                  <a:gd name="connsiteX0" fmla="*/ 402412 w 412256"/>
                  <a:gd name="connsiteY0" fmla="*/ 0 h 81798"/>
                  <a:gd name="connsiteX1" fmla="*/ 412256 w 412256"/>
                  <a:gd name="connsiteY1" fmla="*/ 9847 h 81798"/>
                  <a:gd name="connsiteX2" fmla="*/ 412256 w 412256"/>
                  <a:gd name="connsiteY2" fmla="*/ 71951 h 81798"/>
                  <a:gd name="connsiteX3" fmla="*/ 402412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1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2" y="0"/>
                    </a:moveTo>
                    <a:cubicBezTo>
                      <a:pt x="407849" y="0"/>
                      <a:pt x="412256" y="4409"/>
                      <a:pt x="412256" y="9847"/>
                    </a:cubicBezTo>
                    <a:lnTo>
                      <a:pt x="412256" y="71951"/>
                    </a:lnTo>
                    <a:cubicBezTo>
                      <a:pt x="412256" y="77390"/>
                      <a:pt x="407849" y="81799"/>
                      <a:pt x="402412" y="81799"/>
                    </a:cubicBezTo>
                    <a:lnTo>
                      <a:pt x="9844" y="81799"/>
                    </a:lnTo>
                    <a:cubicBezTo>
                      <a:pt x="4407" y="81799"/>
                      <a:pt x="0" y="77390"/>
                      <a:pt x="0" y="71951"/>
                    </a:cubicBezTo>
                    <a:lnTo>
                      <a:pt x="0" y="9847"/>
                    </a:lnTo>
                    <a:cubicBezTo>
                      <a:pt x="0" y="4409"/>
                      <a:pt x="4407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0" name="Freihandform 259">
                <a:extLst>
                  <a:ext uri="{FF2B5EF4-FFF2-40B4-BE49-F238E27FC236}">
                    <a16:creationId xmlns:a16="http://schemas.microsoft.com/office/drawing/2014/main" id="{C1A42BF9-8BC2-2797-0CD5-A2D44D66E7D5}"/>
                  </a:ext>
                </a:extLst>
              </p:cNvPr>
              <p:cNvSpPr/>
              <p:nvPr/>
            </p:nvSpPr>
            <p:spPr>
              <a:xfrm>
                <a:off x="8073584" y="4241297"/>
                <a:ext cx="126003" cy="81798"/>
              </a:xfrm>
              <a:custGeom>
                <a:avLst/>
                <a:gdLst>
                  <a:gd name="connsiteX0" fmla="*/ 126004 w 126003"/>
                  <a:gd name="connsiteY0" fmla="*/ 71964 h 81798"/>
                  <a:gd name="connsiteX1" fmla="*/ 126004 w 126003"/>
                  <a:gd name="connsiteY1" fmla="*/ 9847 h 81798"/>
                  <a:gd name="connsiteX2" fmla="*/ 116159 w 126003"/>
                  <a:gd name="connsiteY2" fmla="*/ 0 h 81798"/>
                  <a:gd name="connsiteX3" fmla="*/ 0 w 126003"/>
                  <a:gd name="connsiteY3" fmla="*/ 0 h 81798"/>
                  <a:gd name="connsiteX4" fmla="*/ 0 w 126003"/>
                  <a:gd name="connsiteY4" fmla="*/ 81799 h 81798"/>
                  <a:gd name="connsiteX5" fmla="*/ 116159 w 126003"/>
                  <a:gd name="connsiteY5" fmla="*/ 81799 h 81798"/>
                  <a:gd name="connsiteX6" fmla="*/ 126004 w 126003"/>
                  <a:gd name="connsiteY6" fmla="*/ 71952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003" h="81798">
                    <a:moveTo>
                      <a:pt x="126004" y="71964"/>
                    </a:moveTo>
                    <a:lnTo>
                      <a:pt x="126004" y="9847"/>
                    </a:lnTo>
                    <a:cubicBezTo>
                      <a:pt x="126004" y="4412"/>
                      <a:pt x="121593" y="0"/>
                      <a:pt x="116159" y="0"/>
                    </a:cubicBezTo>
                    <a:lnTo>
                      <a:pt x="0" y="0"/>
                    </a:lnTo>
                    <a:lnTo>
                      <a:pt x="0" y="81799"/>
                    </a:lnTo>
                    <a:lnTo>
                      <a:pt x="116159" y="81799"/>
                    </a:lnTo>
                    <a:cubicBezTo>
                      <a:pt x="121593" y="81799"/>
                      <a:pt x="126004" y="77387"/>
                      <a:pt x="126004" y="71952"/>
                    </a:cubicBezTo>
                    <a:close/>
                  </a:path>
                </a:pathLst>
              </a:custGeom>
              <a:solidFill>
                <a:srgbClr val="08665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61" name="Grafik 5">
                <a:extLst>
                  <a:ext uri="{FF2B5EF4-FFF2-40B4-BE49-F238E27FC236}">
                    <a16:creationId xmlns:a16="http://schemas.microsoft.com/office/drawing/2014/main" id="{D6FE54C9-C126-AF8B-2928-1DA5DEBE0E05}"/>
                  </a:ext>
                </a:extLst>
              </p:cNvPr>
              <p:cNvGrpSpPr/>
              <p:nvPr/>
            </p:nvGrpSpPr>
            <p:grpSpPr>
              <a:xfrm>
                <a:off x="7804732" y="4274593"/>
                <a:ext cx="377441" cy="15219"/>
                <a:chOff x="7804732" y="4274593"/>
                <a:chExt cx="377441" cy="15219"/>
              </a:xfrm>
            </p:grpSpPr>
            <p:grpSp>
              <p:nvGrpSpPr>
                <p:cNvPr id="262" name="Grafik 5">
                  <a:extLst>
                    <a:ext uri="{FF2B5EF4-FFF2-40B4-BE49-F238E27FC236}">
                      <a16:creationId xmlns:a16="http://schemas.microsoft.com/office/drawing/2014/main" id="{1FB8760F-010D-EA78-4112-E8E71C939EA4}"/>
                    </a:ext>
                  </a:extLst>
                </p:cNvPr>
                <p:cNvGrpSpPr/>
                <p:nvPr/>
              </p:nvGrpSpPr>
              <p:grpSpPr>
                <a:xfrm>
                  <a:off x="7804732" y="4275604"/>
                  <a:ext cx="99124" cy="13197"/>
                  <a:chOff x="7804732" y="4275604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263" name="Freihandform 262">
                    <a:extLst>
                      <a:ext uri="{FF2B5EF4-FFF2-40B4-BE49-F238E27FC236}">
                        <a16:creationId xmlns:a16="http://schemas.microsoft.com/office/drawing/2014/main" id="{E784EE6D-7131-6088-4168-BD93C2A41C14}"/>
                      </a:ext>
                    </a:extLst>
                  </p:cNvPr>
                  <p:cNvSpPr/>
                  <p:nvPr/>
                </p:nvSpPr>
                <p:spPr>
                  <a:xfrm>
                    <a:off x="7804732" y="427560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4" name="Freihandform 263">
                    <a:extLst>
                      <a:ext uri="{FF2B5EF4-FFF2-40B4-BE49-F238E27FC236}">
                        <a16:creationId xmlns:a16="http://schemas.microsoft.com/office/drawing/2014/main" id="{3133DC1D-8555-92C5-F5D3-7C061313828E}"/>
                      </a:ext>
                    </a:extLst>
                  </p:cNvPr>
                  <p:cNvSpPr/>
                  <p:nvPr/>
                </p:nvSpPr>
                <p:spPr>
                  <a:xfrm>
                    <a:off x="7833380" y="427560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5" name="Freihandform 264">
                    <a:extLst>
                      <a:ext uri="{FF2B5EF4-FFF2-40B4-BE49-F238E27FC236}">
                        <a16:creationId xmlns:a16="http://schemas.microsoft.com/office/drawing/2014/main" id="{C2FB2151-7B14-B640-7438-0728D6588BD8}"/>
                      </a:ext>
                    </a:extLst>
                  </p:cNvPr>
                  <p:cNvSpPr/>
                  <p:nvPr/>
                </p:nvSpPr>
                <p:spPr>
                  <a:xfrm>
                    <a:off x="7862016" y="427560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6" name="Freihandform 265">
                    <a:extLst>
                      <a:ext uri="{FF2B5EF4-FFF2-40B4-BE49-F238E27FC236}">
                        <a16:creationId xmlns:a16="http://schemas.microsoft.com/office/drawing/2014/main" id="{73939275-3F25-61D5-D338-3EEA552A69A7}"/>
                      </a:ext>
                    </a:extLst>
                  </p:cNvPr>
                  <p:cNvSpPr/>
                  <p:nvPr/>
                </p:nvSpPr>
                <p:spPr>
                  <a:xfrm>
                    <a:off x="7890664" y="427560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67" name="Freihandform 266">
                  <a:extLst>
                    <a:ext uri="{FF2B5EF4-FFF2-40B4-BE49-F238E27FC236}">
                      <a16:creationId xmlns:a16="http://schemas.microsoft.com/office/drawing/2014/main" id="{D0D95A6B-90D2-1CF4-C40B-B7785A5FADBD}"/>
                    </a:ext>
                  </a:extLst>
                </p:cNvPr>
                <p:cNvSpPr/>
                <p:nvPr/>
              </p:nvSpPr>
              <p:spPr>
                <a:xfrm>
                  <a:off x="8137780" y="4274593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1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7" y="15220"/>
                        <a:pt x="1" y="11813"/>
                        <a:pt x="1" y="7610"/>
                      </a:cubicBezTo>
                      <a:cubicBezTo>
                        <a:pt x="1" y="3407"/>
                        <a:pt x="3407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8" name="Freihandform 267">
                  <a:extLst>
                    <a:ext uri="{FF2B5EF4-FFF2-40B4-BE49-F238E27FC236}">
                      <a16:creationId xmlns:a16="http://schemas.microsoft.com/office/drawing/2014/main" id="{83D19624-CD1E-34DC-10FD-35A7A864098D}"/>
                    </a:ext>
                  </a:extLst>
                </p:cNvPr>
                <p:cNvSpPr/>
                <p:nvPr/>
              </p:nvSpPr>
              <p:spPr>
                <a:xfrm>
                  <a:off x="8166959" y="4274593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7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269" name="Grafik 5">
              <a:extLst>
                <a:ext uri="{FF2B5EF4-FFF2-40B4-BE49-F238E27FC236}">
                  <a16:creationId xmlns:a16="http://schemas.microsoft.com/office/drawing/2014/main" id="{C8B1D241-4FC0-C14B-B661-5A046C66B4AD}"/>
                </a:ext>
              </a:extLst>
            </p:cNvPr>
            <p:cNvGrpSpPr/>
            <p:nvPr/>
          </p:nvGrpSpPr>
          <p:grpSpPr>
            <a:xfrm>
              <a:off x="7787331" y="4144822"/>
              <a:ext cx="412256" cy="81798"/>
              <a:chOff x="7787331" y="4144822"/>
              <a:chExt cx="412256" cy="81798"/>
            </a:xfrm>
          </p:grpSpPr>
          <p:sp>
            <p:nvSpPr>
              <p:cNvPr id="270" name="Freihandform 269">
                <a:extLst>
                  <a:ext uri="{FF2B5EF4-FFF2-40B4-BE49-F238E27FC236}">
                    <a16:creationId xmlns:a16="http://schemas.microsoft.com/office/drawing/2014/main" id="{1C469A0F-F443-4075-B97D-9F9A6C630078}"/>
                  </a:ext>
                </a:extLst>
              </p:cNvPr>
              <p:cNvSpPr/>
              <p:nvPr/>
            </p:nvSpPr>
            <p:spPr>
              <a:xfrm>
                <a:off x="7787331" y="4144822"/>
                <a:ext cx="412256" cy="81798"/>
              </a:xfrm>
              <a:custGeom>
                <a:avLst/>
                <a:gdLst>
                  <a:gd name="connsiteX0" fmla="*/ 402412 w 412256"/>
                  <a:gd name="connsiteY0" fmla="*/ 0 h 81798"/>
                  <a:gd name="connsiteX1" fmla="*/ 412256 w 412256"/>
                  <a:gd name="connsiteY1" fmla="*/ 9847 h 81798"/>
                  <a:gd name="connsiteX2" fmla="*/ 412256 w 412256"/>
                  <a:gd name="connsiteY2" fmla="*/ 71952 h 81798"/>
                  <a:gd name="connsiteX3" fmla="*/ 402412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2" y="0"/>
                    </a:moveTo>
                    <a:cubicBezTo>
                      <a:pt x="407849" y="0"/>
                      <a:pt x="412256" y="4409"/>
                      <a:pt x="412256" y="9847"/>
                    </a:cubicBezTo>
                    <a:lnTo>
                      <a:pt x="412256" y="71952"/>
                    </a:lnTo>
                    <a:cubicBezTo>
                      <a:pt x="412256" y="77390"/>
                      <a:pt x="407849" y="81799"/>
                      <a:pt x="402412" y="81799"/>
                    </a:cubicBezTo>
                    <a:lnTo>
                      <a:pt x="9844" y="81799"/>
                    </a:lnTo>
                    <a:cubicBezTo>
                      <a:pt x="4407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7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1" name="Freihandform 270">
                <a:extLst>
                  <a:ext uri="{FF2B5EF4-FFF2-40B4-BE49-F238E27FC236}">
                    <a16:creationId xmlns:a16="http://schemas.microsoft.com/office/drawing/2014/main" id="{2218C60C-2307-719E-F653-B412B8725A59}"/>
                  </a:ext>
                </a:extLst>
              </p:cNvPr>
              <p:cNvSpPr/>
              <p:nvPr/>
            </p:nvSpPr>
            <p:spPr>
              <a:xfrm>
                <a:off x="8073584" y="4144823"/>
                <a:ext cx="126003" cy="81798"/>
              </a:xfrm>
              <a:custGeom>
                <a:avLst/>
                <a:gdLst>
                  <a:gd name="connsiteX0" fmla="*/ 126004 w 126003"/>
                  <a:gd name="connsiteY0" fmla="*/ 71964 h 81798"/>
                  <a:gd name="connsiteX1" fmla="*/ 126004 w 126003"/>
                  <a:gd name="connsiteY1" fmla="*/ 9847 h 81798"/>
                  <a:gd name="connsiteX2" fmla="*/ 116159 w 126003"/>
                  <a:gd name="connsiteY2" fmla="*/ 0 h 81798"/>
                  <a:gd name="connsiteX3" fmla="*/ 0 w 126003"/>
                  <a:gd name="connsiteY3" fmla="*/ 0 h 81798"/>
                  <a:gd name="connsiteX4" fmla="*/ 0 w 126003"/>
                  <a:gd name="connsiteY4" fmla="*/ 81799 h 81798"/>
                  <a:gd name="connsiteX5" fmla="*/ 116159 w 126003"/>
                  <a:gd name="connsiteY5" fmla="*/ 81799 h 81798"/>
                  <a:gd name="connsiteX6" fmla="*/ 126004 w 126003"/>
                  <a:gd name="connsiteY6" fmla="*/ 71952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003" h="81798">
                    <a:moveTo>
                      <a:pt x="126004" y="71964"/>
                    </a:moveTo>
                    <a:lnTo>
                      <a:pt x="126004" y="9847"/>
                    </a:lnTo>
                    <a:cubicBezTo>
                      <a:pt x="126004" y="4412"/>
                      <a:pt x="121593" y="0"/>
                      <a:pt x="116159" y="0"/>
                    </a:cubicBezTo>
                    <a:lnTo>
                      <a:pt x="0" y="0"/>
                    </a:lnTo>
                    <a:lnTo>
                      <a:pt x="0" y="81799"/>
                    </a:lnTo>
                    <a:lnTo>
                      <a:pt x="116159" y="81799"/>
                    </a:lnTo>
                    <a:cubicBezTo>
                      <a:pt x="121593" y="81799"/>
                      <a:pt x="126004" y="77387"/>
                      <a:pt x="126004" y="71952"/>
                    </a:cubicBezTo>
                    <a:close/>
                  </a:path>
                </a:pathLst>
              </a:custGeom>
              <a:solidFill>
                <a:srgbClr val="08665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72" name="Grafik 5">
                <a:extLst>
                  <a:ext uri="{FF2B5EF4-FFF2-40B4-BE49-F238E27FC236}">
                    <a16:creationId xmlns:a16="http://schemas.microsoft.com/office/drawing/2014/main" id="{0B96A339-788D-B2AA-02BD-DE93F6E458AB}"/>
                  </a:ext>
                </a:extLst>
              </p:cNvPr>
              <p:cNvGrpSpPr/>
              <p:nvPr/>
            </p:nvGrpSpPr>
            <p:grpSpPr>
              <a:xfrm>
                <a:off x="7804732" y="4178118"/>
                <a:ext cx="377441" cy="15219"/>
                <a:chOff x="7804732" y="4178118"/>
                <a:chExt cx="377441" cy="15219"/>
              </a:xfrm>
            </p:grpSpPr>
            <p:grpSp>
              <p:nvGrpSpPr>
                <p:cNvPr id="273" name="Grafik 5">
                  <a:extLst>
                    <a:ext uri="{FF2B5EF4-FFF2-40B4-BE49-F238E27FC236}">
                      <a16:creationId xmlns:a16="http://schemas.microsoft.com/office/drawing/2014/main" id="{C55AD2CF-10C9-8AFC-E767-CCBFD1345464}"/>
                    </a:ext>
                  </a:extLst>
                </p:cNvPr>
                <p:cNvGrpSpPr/>
                <p:nvPr/>
              </p:nvGrpSpPr>
              <p:grpSpPr>
                <a:xfrm>
                  <a:off x="7804732" y="4179130"/>
                  <a:ext cx="99124" cy="13197"/>
                  <a:chOff x="7804732" y="4179130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274" name="Freihandform 273">
                    <a:extLst>
                      <a:ext uri="{FF2B5EF4-FFF2-40B4-BE49-F238E27FC236}">
                        <a16:creationId xmlns:a16="http://schemas.microsoft.com/office/drawing/2014/main" id="{433F1DDC-8658-5CD1-5781-F419B45BAC15}"/>
                      </a:ext>
                    </a:extLst>
                  </p:cNvPr>
                  <p:cNvSpPr/>
                  <p:nvPr/>
                </p:nvSpPr>
                <p:spPr>
                  <a:xfrm>
                    <a:off x="7804732" y="417913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75" name="Freihandform 274">
                    <a:extLst>
                      <a:ext uri="{FF2B5EF4-FFF2-40B4-BE49-F238E27FC236}">
                        <a16:creationId xmlns:a16="http://schemas.microsoft.com/office/drawing/2014/main" id="{A6820180-D996-CE9F-45A3-94AAE6535362}"/>
                      </a:ext>
                    </a:extLst>
                  </p:cNvPr>
                  <p:cNvSpPr/>
                  <p:nvPr/>
                </p:nvSpPr>
                <p:spPr>
                  <a:xfrm>
                    <a:off x="7833380" y="417913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76" name="Freihandform 275">
                    <a:extLst>
                      <a:ext uri="{FF2B5EF4-FFF2-40B4-BE49-F238E27FC236}">
                        <a16:creationId xmlns:a16="http://schemas.microsoft.com/office/drawing/2014/main" id="{853AEADF-8070-3E69-1D27-8D47CC313542}"/>
                      </a:ext>
                    </a:extLst>
                  </p:cNvPr>
                  <p:cNvSpPr/>
                  <p:nvPr/>
                </p:nvSpPr>
                <p:spPr>
                  <a:xfrm>
                    <a:off x="7862016" y="417913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77" name="Freihandform 276">
                    <a:extLst>
                      <a:ext uri="{FF2B5EF4-FFF2-40B4-BE49-F238E27FC236}">
                        <a16:creationId xmlns:a16="http://schemas.microsoft.com/office/drawing/2014/main" id="{E85D7C56-60CF-3F4F-3E72-11A7EACE9A81}"/>
                      </a:ext>
                    </a:extLst>
                  </p:cNvPr>
                  <p:cNvSpPr/>
                  <p:nvPr/>
                </p:nvSpPr>
                <p:spPr>
                  <a:xfrm>
                    <a:off x="7890664" y="4179130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78" name="Freihandform 277">
                  <a:extLst>
                    <a:ext uri="{FF2B5EF4-FFF2-40B4-BE49-F238E27FC236}">
                      <a16:creationId xmlns:a16="http://schemas.microsoft.com/office/drawing/2014/main" id="{5C0C00C6-BAA0-2BA8-3181-30EECF8213A0}"/>
                    </a:ext>
                  </a:extLst>
                </p:cNvPr>
                <p:cNvSpPr/>
                <p:nvPr/>
              </p:nvSpPr>
              <p:spPr>
                <a:xfrm>
                  <a:off x="8137780" y="4178118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1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8" y="15220"/>
                      </a:cubicBezTo>
                      <a:cubicBezTo>
                        <a:pt x="3407" y="15220"/>
                        <a:pt x="1" y="11812"/>
                        <a:pt x="1" y="7610"/>
                      </a:cubicBezTo>
                      <a:cubicBezTo>
                        <a:pt x="1" y="3407"/>
                        <a:pt x="3407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9" name="Freihandform 278">
                  <a:extLst>
                    <a:ext uri="{FF2B5EF4-FFF2-40B4-BE49-F238E27FC236}">
                      <a16:creationId xmlns:a16="http://schemas.microsoft.com/office/drawing/2014/main" id="{BEE40730-D409-6D26-DDF6-D73C441BC239}"/>
                    </a:ext>
                  </a:extLst>
                </p:cNvPr>
                <p:cNvSpPr/>
                <p:nvPr/>
              </p:nvSpPr>
              <p:spPr>
                <a:xfrm>
                  <a:off x="8166959" y="4178118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20"/>
                        <a:pt x="7607" y="15220"/>
                      </a:cubicBezTo>
                      <a:cubicBezTo>
                        <a:pt x="3406" y="15220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280" name="Grafik 5">
            <a:extLst>
              <a:ext uri="{FF2B5EF4-FFF2-40B4-BE49-F238E27FC236}">
                <a16:creationId xmlns:a16="http://schemas.microsoft.com/office/drawing/2014/main" id="{0BCCE25C-1579-F496-0ADF-6B773CFCF447}"/>
              </a:ext>
            </a:extLst>
          </p:cNvPr>
          <p:cNvGrpSpPr/>
          <p:nvPr/>
        </p:nvGrpSpPr>
        <p:grpSpPr>
          <a:xfrm>
            <a:off x="9668490" y="5065517"/>
            <a:ext cx="373435" cy="197866"/>
            <a:chOff x="9668490" y="5065517"/>
            <a:chExt cx="373435" cy="197866"/>
          </a:xfrm>
        </p:grpSpPr>
        <p:sp>
          <p:nvSpPr>
            <p:cNvPr id="281" name="Freihandform 280">
              <a:extLst>
                <a:ext uri="{FF2B5EF4-FFF2-40B4-BE49-F238E27FC236}">
                  <a16:creationId xmlns:a16="http://schemas.microsoft.com/office/drawing/2014/main" id="{4DFA6A27-F40B-8FE0-636D-E5F75296EE98}"/>
                </a:ext>
              </a:extLst>
            </p:cNvPr>
            <p:cNvSpPr/>
            <p:nvPr/>
          </p:nvSpPr>
          <p:spPr>
            <a:xfrm>
              <a:off x="9668490" y="5235586"/>
              <a:ext cx="373435" cy="27797"/>
            </a:xfrm>
            <a:custGeom>
              <a:avLst/>
              <a:gdLst>
                <a:gd name="connsiteX0" fmla="*/ 336948 w 373435"/>
                <a:gd name="connsiteY0" fmla="*/ 0 h 27797"/>
                <a:gd name="connsiteX1" fmla="*/ 36478 w 373435"/>
                <a:gd name="connsiteY1" fmla="*/ 0 h 27797"/>
                <a:gd name="connsiteX2" fmla="*/ 15969 w 373435"/>
                <a:gd name="connsiteY2" fmla="*/ 6573 h 27797"/>
                <a:gd name="connsiteX3" fmla="*/ 2688 w 373435"/>
                <a:gd name="connsiteY3" fmla="*/ 15700 h 27797"/>
                <a:gd name="connsiteX4" fmla="*/ 5202 w 373435"/>
                <a:gd name="connsiteY4" fmla="*/ 27797 h 27797"/>
                <a:gd name="connsiteX5" fmla="*/ 368237 w 373435"/>
                <a:gd name="connsiteY5" fmla="*/ 27797 h 27797"/>
                <a:gd name="connsiteX6" fmla="*/ 370752 w 373435"/>
                <a:gd name="connsiteY6" fmla="*/ 15700 h 27797"/>
                <a:gd name="connsiteX7" fmla="*/ 357470 w 373435"/>
                <a:gd name="connsiteY7" fmla="*/ 6573 h 27797"/>
                <a:gd name="connsiteX8" fmla="*/ 336961 w 373435"/>
                <a:gd name="connsiteY8" fmla="*/ 0 h 2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3435" h="27797">
                  <a:moveTo>
                    <a:pt x="336948" y="0"/>
                  </a:moveTo>
                  <a:lnTo>
                    <a:pt x="36478" y="0"/>
                  </a:lnTo>
                  <a:cubicBezTo>
                    <a:pt x="29300" y="0"/>
                    <a:pt x="22249" y="2263"/>
                    <a:pt x="15969" y="6573"/>
                  </a:cubicBezTo>
                  <a:lnTo>
                    <a:pt x="2688" y="15700"/>
                  </a:lnTo>
                  <a:cubicBezTo>
                    <a:pt x="-2001" y="18923"/>
                    <a:pt x="-169" y="27797"/>
                    <a:pt x="5202" y="27797"/>
                  </a:cubicBezTo>
                  <a:lnTo>
                    <a:pt x="368237" y="27797"/>
                  </a:lnTo>
                  <a:cubicBezTo>
                    <a:pt x="373595" y="27797"/>
                    <a:pt x="375440" y="18923"/>
                    <a:pt x="370752" y="15700"/>
                  </a:cubicBezTo>
                  <a:lnTo>
                    <a:pt x="357470" y="6573"/>
                  </a:lnTo>
                  <a:cubicBezTo>
                    <a:pt x="351190" y="2263"/>
                    <a:pt x="344138" y="0"/>
                    <a:pt x="336961" y="0"/>
                  </a:cubicBezTo>
                  <a:close/>
                </a:path>
              </a:pathLst>
            </a:custGeom>
            <a:solidFill>
              <a:srgbClr val="3B9B9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82" name="Grafik 5">
              <a:extLst>
                <a:ext uri="{FF2B5EF4-FFF2-40B4-BE49-F238E27FC236}">
                  <a16:creationId xmlns:a16="http://schemas.microsoft.com/office/drawing/2014/main" id="{B36A6C3B-AE4F-8A9A-4F6B-033CAD1F3A11}"/>
                </a:ext>
              </a:extLst>
            </p:cNvPr>
            <p:cNvGrpSpPr/>
            <p:nvPr/>
          </p:nvGrpSpPr>
          <p:grpSpPr>
            <a:xfrm>
              <a:off x="9715698" y="5065517"/>
              <a:ext cx="274589" cy="183974"/>
              <a:chOff x="9715698" y="5065517"/>
              <a:chExt cx="274589" cy="183974"/>
            </a:xfrm>
          </p:grpSpPr>
          <p:sp>
            <p:nvSpPr>
              <p:cNvPr id="283" name="Freihandform 282">
                <a:extLst>
                  <a:ext uri="{FF2B5EF4-FFF2-40B4-BE49-F238E27FC236}">
                    <a16:creationId xmlns:a16="http://schemas.microsoft.com/office/drawing/2014/main" id="{E9C98FEE-455E-E9FF-A2FA-840C84EC651B}"/>
                  </a:ext>
                </a:extLst>
              </p:cNvPr>
              <p:cNvSpPr/>
              <p:nvPr/>
            </p:nvSpPr>
            <p:spPr>
              <a:xfrm>
                <a:off x="9715698" y="5188803"/>
                <a:ext cx="274589" cy="60688"/>
              </a:xfrm>
              <a:custGeom>
                <a:avLst/>
                <a:gdLst>
                  <a:gd name="connsiteX0" fmla="*/ 266135 w 274589"/>
                  <a:gd name="connsiteY0" fmla="*/ 0 h 60688"/>
                  <a:gd name="connsiteX1" fmla="*/ 274589 w 274589"/>
                  <a:gd name="connsiteY1" fmla="*/ 8457 h 60688"/>
                  <a:gd name="connsiteX2" fmla="*/ 274589 w 274589"/>
                  <a:gd name="connsiteY2" fmla="*/ 52232 h 60688"/>
                  <a:gd name="connsiteX3" fmla="*/ 266135 w 274589"/>
                  <a:gd name="connsiteY3" fmla="*/ 60689 h 60688"/>
                  <a:gd name="connsiteX4" fmla="*/ 8454 w 274589"/>
                  <a:gd name="connsiteY4" fmla="*/ 60689 h 60688"/>
                  <a:gd name="connsiteX5" fmla="*/ 0 w 274589"/>
                  <a:gd name="connsiteY5" fmla="*/ 52232 h 60688"/>
                  <a:gd name="connsiteX6" fmla="*/ 0 w 274589"/>
                  <a:gd name="connsiteY6" fmla="*/ 8457 h 60688"/>
                  <a:gd name="connsiteX7" fmla="*/ 8454 w 274589"/>
                  <a:gd name="connsiteY7" fmla="*/ 0 h 60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4589" h="60688">
                    <a:moveTo>
                      <a:pt x="266135" y="0"/>
                    </a:moveTo>
                    <a:cubicBezTo>
                      <a:pt x="270804" y="0"/>
                      <a:pt x="274589" y="3786"/>
                      <a:pt x="274589" y="8457"/>
                    </a:cubicBezTo>
                    <a:lnTo>
                      <a:pt x="274589" y="52232"/>
                    </a:lnTo>
                    <a:cubicBezTo>
                      <a:pt x="274589" y="56902"/>
                      <a:pt x="270804" y="60689"/>
                      <a:pt x="266135" y="60689"/>
                    </a:cubicBezTo>
                    <a:lnTo>
                      <a:pt x="8454" y="60689"/>
                    </a:lnTo>
                    <a:cubicBezTo>
                      <a:pt x="3785" y="60689"/>
                      <a:pt x="0" y="56902"/>
                      <a:pt x="0" y="52232"/>
                    </a:cubicBezTo>
                    <a:lnTo>
                      <a:pt x="0" y="8457"/>
                    </a:lnTo>
                    <a:cubicBezTo>
                      <a:pt x="0" y="3786"/>
                      <a:pt x="3785" y="0"/>
                      <a:pt x="8454" y="0"/>
                    </a:cubicBezTo>
                    <a:close/>
                  </a:path>
                </a:pathLst>
              </a:custGeom>
              <a:solidFill>
                <a:srgbClr val="B8DEDA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4" name="Freihandform 283">
                <a:extLst>
                  <a:ext uri="{FF2B5EF4-FFF2-40B4-BE49-F238E27FC236}">
                    <a16:creationId xmlns:a16="http://schemas.microsoft.com/office/drawing/2014/main" id="{9746FFE7-B71B-6E9C-8AC1-7522FB5FFEC5}"/>
                  </a:ext>
                </a:extLst>
              </p:cNvPr>
              <p:cNvSpPr/>
              <p:nvPr/>
            </p:nvSpPr>
            <p:spPr>
              <a:xfrm>
                <a:off x="9728499" y="5206614"/>
                <a:ext cx="248973" cy="21110"/>
              </a:xfrm>
              <a:custGeom>
                <a:avLst/>
                <a:gdLst>
                  <a:gd name="connsiteX0" fmla="*/ 245904 w 248973"/>
                  <a:gd name="connsiteY0" fmla="*/ 0 h 21110"/>
                  <a:gd name="connsiteX1" fmla="*/ 248974 w 248973"/>
                  <a:gd name="connsiteY1" fmla="*/ 3072 h 21110"/>
                  <a:gd name="connsiteX2" fmla="*/ 248974 w 248973"/>
                  <a:gd name="connsiteY2" fmla="*/ 18039 h 21110"/>
                  <a:gd name="connsiteX3" fmla="*/ 245904 w 248973"/>
                  <a:gd name="connsiteY3" fmla="*/ 21111 h 21110"/>
                  <a:gd name="connsiteX4" fmla="*/ 3071 w 248973"/>
                  <a:gd name="connsiteY4" fmla="*/ 21111 h 21110"/>
                  <a:gd name="connsiteX5" fmla="*/ 1 w 248973"/>
                  <a:gd name="connsiteY5" fmla="*/ 18039 h 21110"/>
                  <a:gd name="connsiteX6" fmla="*/ 1 w 248973"/>
                  <a:gd name="connsiteY6" fmla="*/ 3072 h 21110"/>
                  <a:gd name="connsiteX7" fmla="*/ 3071 w 248973"/>
                  <a:gd name="connsiteY7" fmla="*/ 0 h 21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8973" h="21110">
                    <a:moveTo>
                      <a:pt x="245904" y="0"/>
                    </a:moveTo>
                    <a:cubicBezTo>
                      <a:pt x="247600" y="0"/>
                      <a:pt x="248974" y="1375"/>
                      <a:pt x="248974" y="3072"/>
                    </a:cubicBezTo>
                    <a:lnTo>
                      <a:pt x="248974" y="18039"/>
                    </a:lnTo>
                    <a:cubicBezTo>
                      <a:pt x="248974" y="19735"/>
                      <a:pt x="247600" y="21111"/>
                      <a:pt x="245904" y="21111"/>
                    </a:cubicBezTo>
                    <a:lnTo>
                      <a:pt x="3071" y="21111"/>
                    </a:lnTo>
                    <a:cubicBezTo>
                      <a:pt x="1375" y="21111"/>
                      <a:pt x="1" y="19735"/>
                      <a:pt x="1" y="18039"/>
                    </a:cubicBezTo>
                    <a:lnTo>
                      <a:pt x="1" y="3072"/>
                    </a:lnTo>
                    <a:cubicBezTo>
                      <a:pt x="1" y="1375"/>
                      <a:pt x="1375" y="0"/>
                      <a:pt x="3071" y="0"/>
                    </a:cubicBezTo>
                    <a:close/>
                  </a:path>
                </a:pathLst>
              </a:custGeom>
              <a:solidFill>
                <a:srgbClr val="3B9B9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5" name="Freihandform 284">
                <a:extLst>
                  <a:ext uri="{FF2B5EF4-FFF2-40B4-BE49-F238E27FC236}">
                    <a16:creationId xmlns:a16="http://schemas.microsoft.com/office/drawing/2014/main" id="{7DF4CBFA-7927-34C4-FCA9-CFA413786B10}"/>
                  </a:ext>
                </a:extLst>
              </p:cNvPr>
              <p:cNvSpPr/>
              <p:nvPr/>
            </p:nvSpPr>
            <p:spPr>
              <a:xfrm>
                <a:off x="9741844" y="5065517"/>
                <a:ext cx="13369" cy="123273"/>
              </a:xfrm>
              <a:custGeom>
                <a:avLst/>
                <a:gdLst>
                  <a:gd name="connsiteX0" fmla="*/ 9957 w 13369"/>
                  <a:gd name="connsiteY0" fmla="*/ 64177 h 123273"/>
                  <a:gd name="connsiteX1" fmla="*/ 9957 w 13369"/>
                  <a:gd name="connsiteY1" fmla="*/ 3274 h 123273"/>
                  <a:gd name="connsiteX2" fmla="*/ 6685 w 13369"/>
                  <a:gd name="connsiteY2" fmla="*/ 0 h 123273"/>
                  <a:gd name="connsiteX3" fmla="*/ 3412 w 13369"/>
                  <a:gd name="connsiteY3" fmla="*/ 3274 h 123273"/>
                  <a:gd name="connsiteX4" fmla="*/ 3412 w 13369"/>
                  <a:gd name="connsiteY4" fmla="*/ 64177 h 123273"/>
                  <a:gd name="connsiteX5" fmla="*/ 0 w 13369"/>
                  <a:gd name="connsiteY5" fmla="*/ 73001 h 123273"/>
                  <a:gd name="connsiteX6" fmla="*/ 0 w 13369"/>
                  <a:gd name="connsiteY6" fmla="*/ 123273 h 123273"/>
                  <a:gd name="connsiteX7" fmla="*/ 13370 w 13369"/>
                  <a:gd name="connsiteY7" fmla="*/ 123273 h 123273"/>
                  <a:gd name="connsiteX8" fmla="*/ 13370 w 13369"/>
                  <a:gd name="connsiteY8" fmla="*/ 73001 h 123273"/>
                  <a:gd name="connsiteX9" fmla="*/ 9957 w 13369"/>
                  <a:gd name="connsiteY9" fmla="*/ 64177 h 12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369" h="123273">
                    <a:moveTo>
                      <a:pt x="9957" y="64177"/>
                    </a:moveTo>
                    <a:lnTo>
                      <a:pt x="9957" y="3274"/>
                    </a:lnTo>
                    <a:cubicBezTo>
                      <a:pt x="9957" y="1466"/>
                      <a:pt x="8492" y="0"/>
                      <a:pt x="6685" y="0"/>
                    </a:cubicBezTo>
                    <a:cubicBezTo>
                      <a:pt x="4878" y="0"/>
                      <a:pt x="3412" y="1466"/>
                      <a:pt x="3412" y="3274"/>
                    </a:cubicBezTo>
                    <a:lnTo>
                      <a:pt x="3412" y="64177"/>
                    </a:lnTo>
                    <a:lnTo>
                      <a:pt x="0" y="73001"/>
                    </a:lnTo>
                    <a:lnTo>
                      <a:pt x="0" y="123273"/>
                    </a:lnTo>
                    <a:lnTo>
                      <a:pt x="13370" y="123273"/>
                    </a:lnTo>
                    <a:lnTo>
                      <a:pt x="13370" y="73001"/>
                    </a:lnTo>
                    <a:lnTo>
                      <a:pt x="9957" y="64177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6" name="Freihandform 285">
                <a:extLst>
                  <a:ext uri="{FF2B5EF4-FFF2-40B4-BE49-F238E27FC236}">
                    <a16:creationId xmlns:a16="http://schemas.microsoft.com/office/drawing/2014/main" id="{A08EA5C3-3C19-629D-07FC-64BF336A69AD}"/>
                  </a:ext>
                </a:extLst>
              </p:cNvPr>
              <p:cNvSpPr/>
              <p:nvPr/>
            </p:nvSpPr>
            <p:spPr>
              <a:xfrm>
                <a:off x="9950746" y="5065517"/>
                <a:ext cx="13369" cy="123273"/>
              </a:xfrm>
              <a:custGeom>
                <a:avLst/>
                <a:gdLst>
                  <a:gd name="connsiteX0" fmla="*/ 9957 w 13369"/>
                  <a:gd name="connsiteY0" fmla="*/ 64177 h 123273"/>
                  <a:gd name="connsiteX1" fmla="*/ 9957 w 13369"/>
                  <a:gd name="connsiteY1" fmla="*/ 3274 h 123273"/>
                  <a:gd name="connsiteX2" fmla="*/ 6685 w 13369"/>
                  <a:gd name="connsiteY2" fmla="*/ 0 h 123273"/>
                  <a:gd name="connsiteX3" fmla="*/ 3411 w 13369"/>
                  <a:gd name="connsiteY3" fmla="*/ 3274 h 123273"/>
                  <a:gd name="connsiteX4" fmla="*/ 3411 w 13369"/>
                  <a:gd name="connsiteY4" fmla="*/ 64177 h 123273"/>
                  <a:gd name="connsiteX5" fmla="*/ 0 w 13369"/>
                  <a:gd name="connsiteY5" fmla="*/ 73001 h 123273"/>
                  <a:gd name="connsiteX6" fmla="*/ 0 w 13369"/>
                  <a:gd name="connsiteY6" fmla="*/ 123273 h 123273"/>
                  <a:gd name="connsiteX7" fmla="*/ 13370 w 13369"/>
                  <a:gd name="connsiteY7" fmla="*/ 123273 h 123273"/>
                  <a:gd name="connsiteX8" fmla="*/ 13370 w 13369"/>
                  <a:gd name="connsiteY8" fmla="*/ 73001 h 123273"/>
                  <a:gd name="connsiteX9" fmla="*/ 9957 w 13369"/>
                  <a:gd name="connsiteY9" fmla="*/ 64177 h 12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369" h="123273">
                    <a:moveTo>
                      <a:pt x="9957" y="64177"/>
                    </a:moveTo>
                    <a:lnTo>
                      <a:pt x="9957" y="3274"/>
                    </a:lnTo>
                    <a:cubicBezTo>
                      <a:pt x="9957" y="1466"/>
                      <a:pt x="8492" y="0"/>
                      <a:pt x="6685" y="0"/>
                    </a:cubicBezTo>
                    <a:cubicBezTo>
                      <a:pt x="4878" y="0"/>
                      <a:pt x="3411" y="1466"/>
                      <a:pt x="3411" y="3274"/>
                    </a:cubicBezTo>
                    <a:lnTo>
                      <a:pt x="3411" y="64177"/>
                    </a:lnTo>
                    <a:lnTo>
                      <a:pt x="0" y="73001"/>
                    </a:lnTo>
                    <a:lnTo>
                      <a:pt x="0" y="123273"/>
                    </a:lnTo>
                    <a:lnTo>
                      <a:pt x="13370" y="123273"/>
                    </a:lnTo>
                    <a:lnTo>
                      <a:pt x="13370" y="73001"/>
                    </a:lnTo>
                    <a:lnTo>
                      <a:pt x="9957" y="64177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7" name="Freihandform 286">
                <a:extLst>
                  <a:ext uri="{FF2B5EF4-FFF2-40B4-BE49-F238E27FC236}">
                    <a16:creationId xmlns:a16="http://schemas.microsoft.com/office/drawing/2014/main" id="{A593CCF4-3AB4-B121-FFBE-BC9990C3C986}"/>
                  </a:ext>
                </a:extLst>
              </p:cNvPr>
              <p:cNvSpPr/>
              <p:nvPr/>
            </p:nvSpPr>
            <p:spPr>
              <a:xfrm>
                <a:off x="9734957" y="5212340"/>
                <a:ext cx="236071" cy="9670"/>
              </a:xfrm>
              <a:custGeom>
                <a:avLst/>
                <a:gdLst>
                  <a:gd name="connsiteX0" fmla="*/ 231244 w 236071"/>
                  <a:gd name="connsiteY0" fmla="*/ 0 h 9670"/>
                  <a:gd name="connsiteX1" fmla="*/ 236072 w 236071"/>
                  <a:gd name="connsiteY1" fmla="*/ 4828 h 9670"/>
                  <a:gd name="connsiteX2" fmla="*/ 236072 w 236071"/>
                  <a:gd name="connsiteY2" fmla="*/ 4841 h 9670"/>
                  <a:gd name="connsiteX3" fmla="*/ 231244 w 236071"/>
                  <a:gd name="connsiteY3" fmla="*/ 9670 h 9670"/>
                  <a:gd name="connsiteX4" fmla="*/ 4827 w 236071"/>
                  <a:gd name="connsiteY4" fmla="*/ 9670 h 9670"/>
                  <a:gd name="connsiteX5" fmla="*/ 0 w 236071"/>
                  <a:gd name="connsiteY5" fmla="*/ 4841 h 9670"/>
                  <a:gd name="connsiteX6" fmla="*/ 0 w 236071"/>
                  <a:gd name="connsiteY6" fmla="*/ 4828 h 9670"/>
                  <a:gd name="connsiteX7" fmla="*/ 4827 w 236071"/>
                  <a:gd name="connsiteY7" fmla="*/ 0 h 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6071" h="9670">
                    <a:moveTo>
                      <a:pt x="231244" y="0"/>
                    </a:moveTo>
                    <a:cubicBezTo>
                      <a:pt x="233910" y="0"/>
                      <a:pt x="236072" y="2162"/>
                      <a:pt x="236072" y="4828"/>
                    </a:cubicBezTo>
                    <a:lnTo>
                      <a:pt x="236072" y="4841"/>
                    </a:lnTo>
                    <a:cubicBezTo>
                      <a:pt x="236072" y="7508"/>
                      <a:pt x="233910" y="9670"/>
                      <a:pt x="231244" y="9670"/>
                    </a:cubicBezTo>
                    <a:lnTo>
                      <a:pt x="4827" y="9670"/>
                    </a:lnTo>
                    <a:cubicBezTo>
                      <a:pt x="2161" y="9670"/>
                      <a:pt x="0" y="7508"/>
                      <a:pt x="0" y="4841"/>
                    </a:cubicBezTo>
                    <a:lnTo>
                      <a:pt x="0" y="4828"/>
                    </a:lnTo>
                    <a:cubicBezTo>
                      <a:pt x="0" y="2162"/>
                      <a:pt x="2161" y="0"/>
                      <a:pt x="4827" y="0"/>
                    </a:cubicBezTo>
                    <a:close/>
                  </a:path>
                </a:pathLst>
              </a:custGeom>
              <a:solidFill>
                <a:srgbClr val="08665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88" name="Grafik 5">
                <a:extLst>
                  <a:ext uri="{FF2B5EF4-FFF2-40B4-BE49-F238E27FC236}">
                    <a16:creationId xmlns:a16="http://schemas.microsoft.com/office/drawing/2014/main" id="{B8D25805-9E02-E27D-EC9C-DA980760F58F}"/>
                  </a:ext>
                </a:extLst>
              </p:cNvPr>
              <p:cNvGrpSpPr/>
              <p:nvPr/>
            </p:nvGrpSpPr>
            <p:grpSpPr>
              <a:xfrm>
                <a:off x="9741856" y="5214982"/>
                <a:ext cx="222259" cy="4373"/>
                <a:chOff x="9741856" y="5214982"/>
                <a:chExt cx="222259" cy="4373"/>
              </a:xfrm>
              <a:solidFill>
                <a:srgbClr val="B9D257"/>
              </a:solidFill>
            </p:grpSpPr>
            <p:sp>
              <p:nvSpPr>
                <p:cNvPr id="289" name="Freihandform 288">
                  <a:extLst>
                    <a:ext uri="{FF2B5EF4-FFF2-40B4-BE49-F238E27FC236}">
                      <a16:creationId xmlns:a16="http://schemas.microsoft.com/office/drawing/2014/main" id="{AC56F10B-F715-9498-7FB2-8EC5451A05FF}"/>
                    </a:ext>
                  </a:extLst>
                </p:cNvPr>
                <p:cNvSpPr/>
                <p:nvPr/>
              </p:nvSpPr>
              <p:spPr>
                <a:xfrm>
                  <a:off x="9741856" y="5214982"/>
                  <a:ext cx="17653" cy="4373"/>
                </a:xfrm>
                <a:custGeom>
                  <a:avLst/>
                  <a:gdLst>
                    <a:gd name="connsiteX0" fmla="*/ 0 w 17653"/>
                    <a:gd name="connsiteY0" fmla="*/ 0 h 4373"/>
                    <a:gd name="connsiteX1" fmla="*/ 17653 w 17653"/>
                    <a:gd name="connsiteY1" fmla="*/ 0 h 4373"/>
                    <a:gd name="connsiteX2" fmla="*/ 17653 w 17653"/>
                    <a:gd name="connsiteY2" fmla="*/ 4374 h 4373"/>
                    <a:gd name="connsiteX3" fmla="*/ 0 w 17653"/>
                    <a:gd name="connsiteY3" fmla="*/ 4374 h 4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653" h="4373">
                      <a:moveTo>
                        <a:pt x="0" y="0"/>
                      </a:moveTo>
                      <a:lnTo>
                        <a:pt x="17653" y="0"/>
                      </a:lnTo>
                      <a:lnTo>
                        <a:pt x="17653" y="4374"/>
                      </a:lnTo>
                      <a:lnTo>
                        <a:pt x="0" y="4374"/>
                      </a:lnTo>
                      <a:close/>
                    </a:path>
                  </a:pathLst>
                </a:custGeom>
                <a:solidFill>
                  <a:srgbClr val="B9D25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90" name="Grafik 5">
                  <a:extLst>
                    <a:ext uri="{FF2B5EF4-FFF2-40B4-BE49-F238E27FC236}">
                      <a16:creationId xmlns:a16="http://schemas.microsoft.com/office/drawing/2014/main" id="{5A86FEEF-80B4-2F98-BC06-A168CEEDE1AC}"/>
                    </a:ext>
                  </a:extLst>
                </p:cNvPr>
                <p:cNvGrpSpPr/>
                <p:nvPr/>
              </p:nvGrpSpPr>
              <p:grpSpPr>
                <a:xfrm>
                  <a:off x="9877628" y="5214982"/>
                  <a:ext cx="86487" cy="4373"/>
                  <a:chOff x="9877628" y="5214982"/>
                  <a:chExt cx="86487" cy="4373"/>
                </a:xfrm>
                <a:solidFill>
                  <a:srgbClr val="B9D257"/>
                </a:solidFill>
              </p:grpSpPr>
              <p:sp>
                <p:nvSpPr>
                  <p:cNvPr id="291" name="Freihandform 290">
                    <a:extLst>
                      <a:ext uri="{FF2B5EF4-FFF2-40B4-BE49-F238E27FC236}">
                        <a16:creationId xmlns:a16="http://schemas.microsoft.com/office/drawing/2014/main" id="{3AAF0567-AB4B-1288-B7FB-E73BD7795A92}"/>
                      </a:ext>
                    </a:extLst>
                  </p:cNvPr>
                  <p:cNvSpPr/>
                  <p:nvPr/>
                </p:nvSpPr>
                <p:spPr>
                  <a:xfrm>
                    <a:off x="9877628" y="5214982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92" name="Freihandform 291">
                    <a:extLst>
                      <a:ext uri="{FF2B5EF4-FFF2-40B4-BE49-F238E27FC236}">
                        <a16:creationId xmlns:a16="http://schemas.microsoft.com/office/drawing/2014/main" id="{EB2DFA09-67A7-C42E-D03A-72BF2C443A08}"/>
                      </a:ext>
                    </a:extLst>
                  </p:cNvPr>
                  <p:cNvSpPr/>
                  <p:nvPr/>
                </p:nvSpPr>
                <p:spPr>
                  <a:xfrm>
                    <a:off x="9893450" y="5214982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93" name="Freihandform 292">
                    <a:extLst>
                      <a:ext uri="{FF2B5EF4-FFF2-40B4-BE49-F238E27FC236}">
                        <a16:creationId xmlns:a16="http://schemas.microsoft.com/office/drawing/2014/main" id="{B94DD7B0-125E-9617-15C0-338DF554E24A}"/>
                      </a:ext>
                    </a:extLst>
                  </p:cNvPr>
                  <p:cNvSpPr/>
                  <p:nvPr/>
                </p:nvSpPr>
                <p:spPr>
                  <a:xfrm>
                    <a:off x="9909271" y="5214982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94" name="Freihandform 293">
                    <a:extLst>
                      <a:ext uri="{FF2B5EF4-FFF2-40B4-BE49-F238E27FC236}">
                        <a16:creationId xmlns:a16="http://schemas.microsoft.com/office/drawing/2014/main" id="{E8D050AE-F0F8-0D80-B409-2C3A2995D25E}"/>
                      </a:ext>
                    </a:extLst>
                  </p:cNvPr>
                  <p:cNvSpPr/>
                  <p:nvPr/>
                </p:nvSpPr>
                <p:spPr>
                  <a:xfrm>
                    <a:off x="9925080" y="5214982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95" name="Freihandform 294">
                    <a:extLst>
                      <a:ext uri="{FF2B5EF4-FFF2-40B4-BE49-F238E27FC236}">
                        <a16:creationId xmlns:a16="http://schemas.microsoft.com/office/drawing/2014/main" id="{33012885-9E15-49E1-33FA-B748B134D3DA}"/>
                      </a:ext>
                    </a:extLst>
                  </p:cNvPr>
                  <p:cNvSpPr/>
                  <p:nvPr/>
                </p:nvSpPr>
                <p:spPr>
                  <a:xfrm>
                    <a:off x="9940902" y="5214982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6 w 7405"/>
                      <a:gd name="connsiteY1" fmla="*/ 0 h 4373"/>
                      <a:gd name="connsiteX2" fmla="*/ 7406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6" y="0"/>
                        </a:lnTo>
                        <a:lnTo>
                          <a:pt x="7406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96" name="Freihandform 295">
                    <a:extLst>
                      <a:ext uri="{FF2B5EF4-FFF2-40B4-BE49-F238E27FC236}">
                        <a16:creationId xmlns:a16="http://schemas.microsoft.com/office/drawing/2014/main" id="{82F4DC34-323B-2404-F58B-0DCDCEE85E09}"/>
                      </a:ext>
                    </a:extLst>
                  </p:cNvPr>
                  <p:cNvSpPr/>
                  <p:nvPr/>
                </p:nvSpPr>
                <p:spPr>
                  <a:xfrm>
                    <a:off x="9956710" y="5214982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97" name="Grafik 5">
            <a:extLst>
              <a:ext uri="{FF2B5EF4-FFF2-40B4-BE49-F238E27FC236}">
                <a16:creationId xmlns:a16="http://schemas.microsoft.com/office/drawing/2014/main" id="{80061D72-DAE8-A165-04E1-7A933D063B56}"/>
              </a:ext>
            </a:extLst>
          </p:cNvPr>
          <p:cNvGrpSpPr/>
          <p:nvPr/>
        </p:nvGrpSpPr>
        <p:grpSpPr>
          <a:xfrm>
            <a:off x="9604770" y="5763555"/>
            <a:ext cx="500867" cy="391650"/>
            <a:chOff x="9604770" y="5763555"/>
            <a:chExt cx="500867" cy="391650"/>
          </a:xfrm>
        </p:grpSpPr>
        <p:sp>
          <p:nvSpPr>
            <p:cNvPr id="298" name="Freihandform 297">
              <a:extLst>
                <a:ext uri="{FF2B5EF4-FFF2-40B4-BE49-F238E27FC236}">
                  <a16:creationId xmlns:a16="http://schemas.microsoft.com/office/drawing/2014/main" id="{88BCFEC5-53C3-AA08-7888-19A7E9B943CC}"/>
                </a:ext>
              </a:extLst>
            </p:cNvPr>
            <p:cNvSpPr/>
            <p:nvPr/>
          </p:nvSpPr>
          <p:spPr>
            <a:xfrm>
              <a:off x="9623308" y="6127409"/>
              <a:ext cx="463803" cy="27797"/>
            </a:xfrm>
            <a:custGeom>
              <a:avLst/>
              <a:gdLst>
                <a:gd name="connsiteX0" fmla="*/ 418487 w 463803"/>
                <a:gd name="connsiteY0" fmla="*/ 0 h 27797"/>
                <a:gd name="connsiteX1" fmla="*/ 45304 w 463803"/>
                <a:gd name="connsiteY1" fmla="*/ 0 h 27797"/>
                <a:gd name="connsiteX2" fmla="*/ 19828 w 463803"/>
                <a:gd name="connsiteY2" fmla="*/ 6573 h 27797"/>
                <a:gd name="connsiteX3" fmla="*/ 3336 w 463803"/>
                <a:gd name="connsiteY3" fmla="*/ 15700 h 27797"/>
                <a:gd name="connsiteX4" fmla="*/ 6458 w 463803"/>
                <a:gd name="connsiteY4" fmla="*/ 27797 h 27797"/>
                <a:gd name="connsiteX5" fmla="*/ 457346 w 463803"/>
                <a:gd name="connsiteY5" fmla="*/ 27797 h 27797"/>
                <a:gd name="connsiteX6" fmla="*/ 460467 w 463803"/>
                <a:gd name="connsiteY6" fmla="*/ 15700 h 27797"/>
                <a:gd name="connsiteX7" fmla="*/ 443976 w 463803"/>
                <a:gd name="connsiteY7" fmla="*/ 6573 h 27797"/>
                <a:gd name="connsiteX8" fmla="*/ 418500 w 463803"/>
                <a:gd name="connsiteY8" fmla="*/ 0 h 2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3803" h="27797">
                  <a:moveTo>
                    <a:pt x="418487" y="0"/>
                  </a:moveTo>
                  <a:lnTo>
                    <a:pt x="45304" y="0"/>
                  </a:lnTo>
                  <a:cubicBezTo>
                    <a:pt x="36395" y="0"/>
                    <a:pt x="27625" y="2263"/>
                    <a:pt x="19828" y="6573"/>
                  </a:cubicBezTo>
                  <a:lnTo>
                    <a:pt x="3336" y="15700"/>
                  </a:lnTo>
                  <a:cubicBezTo>
                    <a:pt x="-2489" y="18923"/>
                    <a:pt x="-202" y="27797"/>
                    <a:pt x="6458" y="27797"/>
                  </a:cubicBezTo>
                  <a:lnTo>
                    <a:pt x="457346" y="27797"/>
                  </a:lnTo>
                  <a:cubicBezTo>
                    <a:pt x="464006" y="27797"/>
                    <a:pt x="466293" y="18923"/>
                    <a:pt x="460467" y="15700"/>
                  </a:cubicBezTo>
                  <a:lnTo>
                    <a:pt x="443976" y="6573"/>
                  </a:lnTo>
                  <a:cubicBezTo>
                    <a:pt x="436179" y="2263"/>
                    <a:pt x="427409" y="0"/>
                    <a:pt x="418500" y="0"/>
                  </a:cubicBezTo>
                  <a:close/>
                </a:path>
              </a:pathLst>
            </a:custGeom>
            <a:solidFill>
              <a:srgbClr val="3B9B9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99" name="Grafik 5">
              <a:extLst>
                <a:ext uri="{FF2B5EF4-FFF2-40B4-BE49-F238E27FC236}">
                  <a16:creationId xmlns:a16="http://schemas.microsoft.com/office/drawing/2014/main" id="{AFCEF48A-C83F-3DCC-1BB5-9FC0AD71228A}"/>
                </a:ext>
              </a:extLst>
            </p:cNvPr>
            <p:cNvGrpSpPr/>
            <p:nvPr/>
          </p:nvGrpSpPr>
          <p:grpSpPr>
            <a:xfrm>
              <a:off x="9604770" y="5763555"/>
              <a:ext cx="500867" cy="380855"/>
              <a:chOff x="9604770" y="5763555"/>
              <a:chExt cx="500867" cy="380855"/>
            </a:xfrm>
          </p:grpSpPr>
          <p:grpSp>
            <p:nvGrpSpPr>
              <p:cNvPr id="300" name="Grafik 5">
                <a:extLst>
                  <a:ext uri="{FF2B5EF4-FFF2-40B4-BE49-F238E27FC236}">
                    <a16:creationId xmlns:a16="http://schemas.microsoft.com/office/drawing/2014/main" id="{4BEBAF19-2FD9-C291-3FF2-FA036A97618A}"/>
                  </a:ext>
                </a:extLst>
              </p:cNvPr>
              <p:cNvGrpSpPr/>
              <p:nvPr/>
            </p:nvGrpSpPr>
            <p:grpSpPr>
              <a:xfrm>
                <a:off x="9604770" y="5763555"/>
                <a:ext cx="500867" cy="380855"/>
                <a:chOff x="9604770" y="5763555"/>
                <a:chExt cx="500867" cy="380855"/>
              </a:xfrm>
            </p:grpSpPr>
            <p:sp>
              <p:nvSpPr>
                <p:cNvPr id="301" name="Freihandform 300">
                  <a:extLst>
                    <a:ext uri="{FF2B5EF4-FFF2-40B4-BE49-F238E27FC236}">
                      <a16:creationId xmlns:a16="http://schemas.microsoft.com/office/drawing/2014/main" id="{D5179DEA-F8B2-B9AF-8E35-6A374C68DFD7}"/>
                    </a:ext>
                  </a:extLst>
                </p:cNvPr>
                <p:cNvSpPr/>
                <p:nvPr/>
              </p:nvSpPr>
              <p:spPr>
                <a:xfrm>
                  <a:off x="9820193" y="6041603"/>
                  <a:ext cx="70021" cy="99622"/>
                </a:xfrm>
                <a:custGeom>
                  <a:avLst/>
                  <a:gdLst>
                    <a:gd name="connsiteX0" fmla="*/ 0 w 70021"/>
                    <a:gd name="connsiteY0" fmla="*/ 0 h 99622"/>
                    <a:gd name="connsiteX1" fmla="*/ 70022 w 70021"/>
                    <a:gd name="connsiteY1" fmla="*/ 0 h 99622"/>
                    <a:gd name="connsiteX2" fmla="*/ 70022 w 70021"/>
                    <a:gd name="connsiteY2" fmla="*/ 99623 h 99622"/>
                    <a:gd name="connsiteX3" fmla="*/ 0 w 70021"/>
                    <a:gd name="connsiteY3" fmla="*/ 99623 h 996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21" h="99622">
                      <a:moveTo>
                        <a:pt x="0" y="0"/>
                      </a:moveTo>
                      <a:lnTo>
                        <a:pt x="70022" y="0"/>
                      </a:lnTo>
                      <a:lnTo>
                        <a:pt x="70022" y="99623"/>
                      </a:lnTo>
                      <a:lnTo>
                        <a:pt x="0" y="99623"/>
                      </a:ln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2" name="Freihandform 301">
                  <a:extLst>
                    <a:ext uri="{FF2B5EF4-FFF2-40B4-BE49-F238E27FC236}">
                      <a16:creationId xmlns:a16="http://schemas.microsoft.com/office/drawing/2014/main" id="{59A69F37-6442-FE81-CBD0-8A31238091B3}"/>
                    </a:ext>
                  </a:extLst>
                </p:cNvPr>
                <p:cNvSpPr/>
                <p:nvPr/>
              </p:nvSpPr>
              <p:spPr>
                <a:xfrm>
                  <a:off x="9781789" y="6133603"/>
                  <a:ext cx="146854" cy="10808"/>
                </a:xfrm>
                <a:custGeom>
                  <a:avLst/>
                  <a:gdLst>
                    <a:gd name="connsiteX0" fmla="*/ 4676 w 146854"/>
                    <a:gd name="connsiteY0" fmla="*/ 0 h 10808"/>
                    <a:gd name="connsiteX1" fmla="*/ 142166 w 146854"/>
                    <a:gd name="connsiteY1" fmla="*/ 0 h 10808"/>
                    <a:gd name="connsiteX2" fmla="*/ 146854 w 146854"/>
                    <a:gd name="connsiteY2" fmla="*/ 4690 h 10808"/>
                    <a:gd name="connsiteX3" fmla="*/ 146854 w 146854"/>
                    <a:gd name="connsiteY3" fmla="*/ 10808 h 10808"/>
                    <a:gd name="connsiteX4" fmla="*/ 0 w 146854"/>
                    <a:gd name="connsiteY4" fmla="*/ 10808 h 10808"/>
                    <a:gd name="connsiteX5" fmla="*/ 0 w 146854"/>
                    <a:gd name="connsiteY5" fmla="*/ 4690 h 10808"/>
                    <a:gd name="connsiteX6" fmla="*/ 4688 w 146854"/>
                    <a:gd name="connsiteY6" fmla="*/ 0 h 10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6854" h="10808">
                      <a:moveTo>
                        <a:pt x="4676" y="0"/>
                      </a:moveTo>
                      <a:lnTo>
                        <a:pt x="142166" y="0"/>
                      </a:lnTo>
                      <a:cubicBezTo>
                        <a:pt x="144756" y="0"/>
                        <a:pt x="146854" y="2099"/>
                        <a:pt x="146854" y="4690"/>
                      </a:cubicBezTo>
                      <a:lnTo>
                        <a:pt x="146854" y="10808"/>
                      </a:lnTo>
                      <a:lnTo>
                        <a:pt x="0" y="10808"/>
                      </a:lnTo>
                      <a:lnTo>
                        <a:pt x="0" y="4690"/>
                      </a:lnTo>
                      <a:cubicBezTo>
                        <a:pt x="0" y="2099"/>
                        <a:pt x="2097" y="0"/>
                        <a:pt x="4688" y="0"/>
                      </a:cubicBez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3" name="Freihandform 302">
                  <a:extLst>
                    <a:ext uri="{FF2B5EF4-FFF2-40B4-BE49-F238E27FC236}">
                      <a16:creationId xmlns:a16="http://schemas.microsoft.com/office/drawing/2014/main" id="{4BADDAB3-2D6D-F6B7-97B2-C8B107486FDA}"/>
                    </a:ext>
                  </a:extLst>
                </p:cNvPr>
                <p:cNvSpPr/>
                <p:nvPr/>
              </p:nvSpPr>
              <p:spPr>
                <a:xfrm>
                  <a:off x="9604770" y="5763555"/>
                  <a:ext cx="500867" cy="285884"/>
                </a:xfrm>
                <a:custGeom>
                  <a:avLst/>
                  <a:gdLst>
                    <a:gd name="connsiteX0" fmla="*/ 494005 w 500867"/>
                    <a:gd name="connsiteY0" fmla="*/ 0 h 285884"/>
                    <a:gd name="connsiteX1" fmla="*/ 500868 w 500867"/>
                    <a:gd name="connsiteY1" fmla="*/ 6864 h 285884"/>
                    <a:gd name="connsiteX2" fmla="*/ 500868 w 500867"/>
                    <a:gd name="connsiteY2" fmla="*/ 279021 h 285884"/>
                    <a:gd name="connsiteX3" fmla="*/ 494005 w 500867"/>
                    <a:gd name="connsiteY3" fmla="*/ 285885 h 285884"/>
                    <a:gd name="connsiteX4" fmla="*/ 6862 w 500867"/>
                    <a:gd name="connsiteY4" fmla="*/ 285885 h 285884"/>
                    <a:gd name="connsiteX5" fmla="*/ 0 w 500867"/>
                    <a:gd name="connsiteY5" fmla="*/ 279021 h 285884"/>
                    <a:gd name="connsiteX6" fmla="*/ 0 w 500867"/>
                    <a:gd name="connsiteY6" fmla="*/ 6864 h 285884"/>
                    <a:gd name="connsiteX7" fmla="*/ 6862 w 500867"/>
                    <a:gd name="connsiteY7" fmla="*/ 0 h 285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0867" h="285884">
                      <a:moveTo>
                        <a:pt x="494005" y="0"/>
                      </a:moveTo>
                      <a:cubicBezTo>
                        <a:pt x="497795" y="0"/>
                        <a:pt x="500868" y="3073"/>
                        <a:pt x="500868" y="6864"/>
                      </a:cubicBezTo>
                      <a:lnTo>
                        <a:pt x="500868" y="279021"/>
                      </a:lnTo>
                      <a:cubicBezTo>
                        <a:pt x="500868" y="282812"/>
                        <a:pt x="497795" y="285885"/>
                        <a:pt x="494005" y="285885"/>
                      </a:cubicBezTo>
                      <a:lnTo>
                        <a:pt x="6862" y="285885"/>
                      </a:lnTo>
                      <a:cubicBezTo>
                        <a:pt x="3072" y="285885"/>
                        <a:pt x="0" y="282812"/>
                        <a:pt x="0" y="279021"/>
                      </a:cubicBezTo>
                      <a:lnTo>
                        <a:pt x="0" y="6864"/>
                      </a:lnTo>
                      <a:cubicBezTo>
                        <a:pt x="0" y="3073"/>
                        <a:pt x="3072" y="0"/>
                        <a:pt x="6862" y="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4" name="Freihandform 303">
                  <a:extLst>
                    <a:ext uri="{FF2B5EF4-FFF2-40B4-BE49-F238E27FC236}">
                      <a16:creationId xmlns:a16="http://schemas.microsoft.com/office/drawing/2014/main" id="{B850A189-70EA-F155-A549-F11C8D27554D}"/>
                    </a:ext>
                  </a:extLst>
                </p:cNvPr>
                <p:cNvSpPr/>
                <p:nvPr/>
              </p:nvSpPr>
              <p:spPr>
                <a:xfrm rot="5400000">
                  <a:off x="9731709" y="5659863"/>
                  <a:ext cx="246989" cy="477734"/>
                </a:xfrm>
                <a:custGeom>
                  <a:avLst/>
                  <a:gdLst>
                    <a:gd name="connsiteX0" fmla="*/ 0 w 246989"/>
                    <a:gd name="connsiteY0" fmla="*/ 0 h 477734"/>
                    <a:gd name="connsiteX1" fmla="*/ 246990 w 246989"/>
                    <a:gd name="connsiteY1" fmla="*/ 0 h 477734"/>
                    <a:gd name="connsiteX2" fmla="*/ 246990 w 246989"/>
                    <a:gd name="connsiteY2" fmla="*/ 477735 h 477734"/>
                    <a:gd name="connsiteX3" fmla="*/ 0 w 246989"/>
                    <a:gd name="connsiteY3" fmla="*/ 477735 h 477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6989" h="477734">
                      <a:moveTo>
                        <a:pt x="0" y="0"/>
                      </a:moveTo>
                      <a:lnTo>
                        <a:pt x="246990" y="0"/>
                      </a:lnTo>
                      <a:lnTo>
                        <a:pt x="246990" y="477735"/>
                      </a:lnTo>
                      <a:lnTo>
                        <a:pt x="0" y="477735"/>
                      </a:lnTo>
                      <a:close/>
                    </a:path>
                  </a:pathLst>
                </a:custGeom>
                <a:solidFill>
                  <a:srgbClr val="06534B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5" name="Freihandform 304">
                  <a:extLst>
                    <a:ext uri="{FF2B5EF4-FFF2-40B4-BE49-F238E27FC236}">
                      <a16:creationId xmlns:a16="http://schemas.microsoft.com/office/drawing/2014/main" id="{C98CBC00-226C-C720-D95D-D5B8774D34D7}"/>
                    </a:ext>
                  </a:extLst>
                </p:cNvPr>
                <p:cNvSpPr/>
                <p:nvPr/>
              </p:nvSpPr>
              <p:spPr>
                <a:xfrm>
                  <a:off x="9820193" y="6049440"/>
                  <a:ext cx="70021" cy="10390"/>
                </a:xfrm>
                <a:custGeom>
                  <a:avLst/>
                  <a:gdLst>
                    <a:gd name="connsiteX0" fmla="*/ 0 w 70021"/>
                    <a:gd name="connsiteY0" fmla="*/ 0 h 10390"/>
                    <a:gd name="connsiteX1" fmla="*/ 70022 w 70021"/>
                    <a:gd name="connsiteY1" fmla="*/ 0 h 10390"/>
                    <a:gd name="connsiteX2" fmla="*/ 70022 w 70021"/>
                    <a:gd name="connsiteY2" fmla="*/ 10391 h 10390"/>
                    <a:gd name="connsiteX3" fmla="*/ 0 w 70021"/>
                    <a:gd name="connsiteY3" fmla="*/ 10391 h 10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21" h="10390">
                      <a:moveTo>
                        <a:pt x="0" y="0"/>
                      </a:moveTo>
                      <a:lnTo>
                        <a:pt x="70022" y="0"/>
                      </a:lnTo>
                      <a:lnTo>
                        <a:pt x="70022" y="10391"/>
                      </a:lnTo>
                      <a:lnTo>
                        <a:pt x="0" y="10391"/>
                      </a:ln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06" name="Freihandform 305">
                <a:extLst>
                  <a:ext uri="{FF2B5EF4-FFF2-40B4-BE49-F238E27FC236}">
                    <a16:creationId xmlns:a16="http://schemas.microsoft.com/office/drawing/2014/main" id="{4244FB40-DA47-4143-20C6-57BA8FC51E08}"/>
                  </a:ext>
                </a:extLst>
              </p:cNvPr>
              <p:cNvSpPr/>
              <p:nvPr/>
            </p:nvSpPr>
            <p:spPr>
              <a:xfrm>
                <a:off x="9616409" y="5775198"/>
                <a:ext cx="370087" cy="247065"/>
              </a:xfrm>
              <a:custGeom>
                <a:avLst/>
                <a:gdLst>
                  <a:gd name="connsiteX0" fmla="*/ 173165 w 370087"/>
                  <a:gd name="connsiteY0" fmla="*/ 247065 h 247065"/>
                  <a:gd name="connsiteX1" fmla="*/ 0 w 370087"/>
                  <a:gd name="connsiteY1" fmla="*/ 247065 h 247065"/>
                  <a:gd name="connsiteX2" fmla="*/ 0 w 370087"/>
                  <a:gd name="connsiteY2" fmla="*/ 0 h 247065"/>
                  <a:gd name="connsiteX3" fmla="*/ 370087 w 370087"/>
                  <a:gd name="connsiteY3" fmla="*/ 0 h 247065"/>
                  <a:gd name="connsiteX4" fmla="*/ 173165 w 370087"/>
                  <a:gd name="connsiteY4" fmla="*/ 247065 h 247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0087" h="247065">
                    <a:moveTo>
                      <a:pt x="173165" y="247065"/>
                    </a:moveTo>
                    <a:lnTo>
                      <a:pt x="0" y="247065"/>
                    </a:lnTo>
                    <a:lnTo>
                      <a:pt x="0" y="0"/>
                    </a:lnTo>
                    <a:lnTo>
                      <a:pt x="370087" y="0"/>
                    </a:lnTo>
                    <a:lnTo>
                      <a:pt x="173165" y="247065"/>
                    </a:ln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07" name="Grafik 5">
            <a:extLst>
              <a:ext uri="{FF2B5EF4-FFF2-40B4-BE49-F238E27FC236}">
                <a16:creationId xmlns:a16="http://schemas.microsoft.com/office/drawing/2014/main" id="{E4FC84C7-6667-0F1C-B00F-A57CCF39231D}"/>
              </a:ext>
            </a:extLst>
          </p:cNvPr>
          <p:cNvGrpSpPr/>
          <p:nvPr/>
        </p:nvGrpSpPr>
        <p:grpSpPr>
          <a:xfrm>
            <a:off x="9604804" y="5265899"/>
            <a:ext cx="584174" cy="408260"/>
            <a:chOff x="9604804" y="5265899"/>
            <a:chExt cx="584174" cy="408260"/>
          </a:xfrm>
        </p:grpSpPr>
        <p:grpSp>
          <p:nvGrpSpPr>
            <p:cNvPr id="308" name="Grafik 5">
              <a:extLst>
                <a:ext uri="{FF2B5EF4-FFF2-40B4-BE49-F238E27FC236}">
                  <a16:creationId xmlns:a16="http://schemas.microsoft.com/office/drawing/2014/main" id="{ACBCFBB9-C66E-4AF5-8E02-837B9602054E}"/>
                </a:ext>
              </a:extLst>
            </p:cNvPr>
            <p:cNvGrpSpPr/>
            <p:nvPr/>
          </p:nvGrpSpPr>
          <p:grpSpPr>
            <a:xfrm>
              <a:off x="9604804" y="5388591"/>
              <a:ext cx="500783" cy="285568"/>
              <a:chOff x="9604804" y="5388591"/>
              <a:chExt cx="500783" cy="285568"/>
            </a:xfrm>
          </p:grpSpPr>
          <p:sp>
            <p:nvSpPr>
              <p:cNvPr id="309" name="Freihandform 308">
                <a:extLst>
                  <a:ext uri="{FF2B5EF4-FFF2-40B4-BE49-F238E27FC236}">
                    <a16:creationId xmlns:a16="http://schemas.microsoft.com/office/drawing/2014/main" id="{43F6F361-212D-F252-91AC-30BC0CE2240C}"/>
                  </a:ext>
                </a:extLst>
              </p:cNvPr>
              <p:cNvSpPr/>
              <p:nvPr/>
            </p:nvSpPr>
            <p:spPr>
              <a:xfrm>
                <a:off x="9604804" y="5644150"/>
                <a:ext cx="500783" cy="30009"/>
              </a:xfrm>
              <a:custGeom>
                <a:avLst/>
                <a:gdLst>
                  <a:gd name="connsiteX0" fmla="*/ 451865 w 500783"/>
                  <a:gd name="connsiteY0" fmla="*/ 0 h 30009"/>
                  <a:gd name="connsiteX1" fmla="*/ 48935 w 500783"/>
                  <a:gd name="connsiteY1" fmla="*/ 0 h 30009"/>
                  <a:gd name="connsiteX2" fmla="*/ 21424 w 500783"/>
                  <a:gd name="connsiteY2" fmla="*/ 7104 h 30009"/>
                  <a:gd name="connsiteX3" fmla="*/ 3606 w 500783"/>
                  <a:gd name="connsiteY3" fmla="*/ 16951 h 30009"/>
                  <a:gd name="connsiteX4" fmla="*/ 6980 w 500783"/>
                  <a:gd name="connsiteY4" fmla="*/ 30010 h 30009"/>
                  <a:gd name="connsiteX5" fmla="*/ 493808 w 500783"/>
                  <a:gd name="connsiteY5" fmla="*/ 30010 h 30009"/>
                  <a:gd name="connsiteX6" fmla="*/ 497181 w 500783"/>
                  <a:gd name="connsiteY6" fmla="*/ 16951 h 30009"/>
                  <a:gd name="connsiteX7" fmla="*/ 479363 w 500783"/>
                  <a:gd name="connsiteY7" fmla="*/ 7104 h 30009"/>
                  <a:gd name="connsiteX8" fmla="*/ 451853 w 500783"/>
                  <a:gd name="connsiteY8" fmla="*/ 0 h 30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0783" h="30009">
                    <a:moveTo>
                      <a:pt x="451865" y="0"/>
                    </a:moveTo>
                    <a:lnTo>
                      <a:pt x="48935" y="0"/>
                    </a:lnTo>
                    <a:cubicBezTo>
                      <a:pt x="39318" y="0"/>
                      <a:pt x="29853" y="2440"/>
                      <a:pt x="21424" y="7104"/>
                    </a:cubicBezTo>
                    <a:lnTo>
                      <a:pt x="3606" y="16951"/>
                    </a:lnTo>
                    <a:cubicBezTo>
                      <a:pt x="-2687" y="20428"/>
                      <a:pt x="-223" y="30010"/>
                      <a:pt x="6980" y="30010"/>
                    </a:cubicBezTo>
                    <a:lnTo>
                      <a:pt x="493808" y="30010"/>
                    </a:lnTo>
                    <a:cubicBezTo>
                      <a:pt x="500998" y="30010"/>
                      <a:pt x="503475" y="20428"/>
                      <a:pt x="497181" y="16951"/>
                    </a:cubicBezTo>
                    <a:lnTo>
                      <a:pt x="479363" y="7104"/>
                    </a:lnTo>
                    <a:cubicBezTo>
                      <a:pt x="470947" y="2452"/>
                      <a:pt x="461482" y="0"/>
                      <a:pt x="451853" y="0"/>
                    </a:cubicBezTo>
                    <a:close/>
                  </a:path>
                </a:pathLst>
              </a:custGeom>
              <a:solidFill>
                <a:srgbClr val="3B9B9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10" name="Grafik 5">
                <a:extLst>
                  <a:ext uri="{FF2B5EF4-FFF2-40B4-BE49-F238E27FC236}">
                    <a16:creationId xmlns:a16="http://schemas.microsoft.com/office/drawing/2014/main" id="{A9D093A1-B174-985B-BD81-5E2E89701023}"/>
                  </a:ext>
                </a:extLst>
              </p:cNvPr>
              <p:cNvGrpSpPr/>
              <p:nvPr/>
            </p:nvGrpSpPr>
            <p:grpSpPr>
              <a:xfrm>
                <a:off x="9649076" y="5388591"/>
                <a:ext cx="412256" cy="274773"/>
                <a:chOff x="9649076" y="5388591"/>
                <a:chExt cx="412256" cy="274773"/>
              </a:xfrm>
            </p:grpSpPr>
            <p:sp>
              <p:nvSpPr>
                <p:cNvPr id="311" name="Freihandform 310">
                  <a:extLst>
                    <a:ext uri="{FF2B5EF4-FFF2-40B4-BE49-F238E27FC236}">
                      <a16:creationId xmlns:a16="http://schemas.microsoft.com/office/drawing/2014/main" id="{DBD12BEA-C20A-6983-9682-C4ED569A0F24}"/>
                    </a:ext>
                  </a:extLst>
                </p:cNvPr>
                <p:cNvSpPr/>
                <p:nvPr/>
              </p:nvSpPr>
              <p:spPr>
                <a:xfrm>
                  <a:off x="9662079" y="5445196"/>
                  <a:ext cx="386249" cy="218167"/>
                </a:xfrm>
                <a:custGeom>
                  <a:avLst/>
                  <a:gdLst>
                    <a:gd name="connsiteX0" fmla="*/ 0 w 386249"/>
                    <a:gd name="connsiteY0" fmla="*/ 0 h 218167"/>
                    <a:gd name="connsiteX1" fmla="*/ 386250 w 386249"/>
                    <a:gd name="connsiteY1" fmla="*/ 0 h 218167"/>
                    <a:gd name="connsiteX2" fmla="*/ 386250 w 386249"/>
                    <a:gd name="connsiteY2" fmla="*/ 218168 h 218167"/>
                    <a:gd name="connsiteX3" fmla="*/ 0 w 386249"/>
                    <a:gd name="connsiteY3" fmla="*/ 218168 h 218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86249" h="218167">
                      <a:moveTo>
                        <a:pt x="0" y="0"/>
                      </a:moveTo>
                      <a:lnTo>
                        <a:pt x="386250" y="0"/>
                      </a:lnTo>
                      <a:lnTo>
                        <a:pt x="386250" y="218168"/>
                      </a:lnTo>
                      <a:lnTo>
                        <a:pt x="0" y="218168"/>
                      </a:lnTo>
                      <a:close/>
                    </a:path>
                  </a:pathLst>
                </a:custGeom>
                <a:solidFill>
                  <a:srgbClr val="06534B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2" name="Freihandform 311">
                  <a:extLst>
                    <a:ext uri="{FF2B5EF4-FFF2-40B4-BE49-F238E27FC236}">
                      <a16:creationId xmlns:a16="http://schemas.microsoft.com/office/drawing/2014/main" id="{87914BC9-C878-B56E-D1DD-F8482D3FA6FD}"/>
                    </a:ext>
                  </a:extLst>
                </p:cNvPr>
                <p:cNvSpPr/>
                <p:nvPr/>
              </p:nvSpPr>
              <p:spPr>
                <a:xfrm>
                  <a:off x="9649076" y="5388591"/>
                  <a:ext cx="412256" cy="81798"/>
                </a:xfrm>
                <a:custGeom>
                  <a:avLst/>
                  <a:gdLst>
                    <a:gd name="connsiteX0" fmla="*/ 402412 w 412256"/>
                    <a:gd name="connsiteY0" fmla="*/ 0 h 81798"/>
                    <a:gd name="connsiteX1" fmla="*/ 412256 w 412256"/>
                    <a:gd name="connsiteY1" fmla="*/ 9847 h 81798"/>
                    <a:gd name="connsiteX2" fmla="*/ 412256 w 412256"/>
                    <a:gd name="connsiteY2" fmla="*/ 71952 h 81798"/>
                    <a:gd name="connsiteX3" fmla="*/ 402412 w 412256"/>
                    <a:gd name="connsiteY3" fmla="*/ 81799 h 81798"/>
                    <a:gd name="connsiteX4" fmla="*/ 9844 w 412256"/>
                    <a:gd name="connsiteY4" fmla="*/ 81799 h 81798"/>
                    <a:gd name="connsiteX5" fmla="*/ 0 w 412256"/>
                    <a:gd name="connsiteY5" fmla="*/ 71952 h 81798"/>
                    <a:gd name="connsiteX6" fmla="*/ 0 w 412256"/>
                    <a:gd name="connsiteY6" fmla="*/ 9847 h 81798"/>
                    <a:gd name="connsiteX7" fmla="*/ 9844 w 412256"/>
                    <a:gd name="connsiteY7" fmla="*/ 0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2256" h="81798">
                      <a:moveTo>
                        <a:pt x="402412" y="0"/>
                      </a:moveTo>
                      <a:cubicBezTo>
                        <a:pt x="407849" y="0"/>
                        <a:pt x="412256" y="4409"/>
                        <a:pt x="412256" y="9847"/>
                      </a:cubicBezTo>
                      <a:lnTo>
                        <a:pt x="412256" y="71952"/>
                      </a:lnTo>
                      <a:cubicBezTo>
                        <a:pt x="412256" y="77390"/>
                        <a:pt x="407849" y="81799"/>
                        <a:pt x="402412" y="81799"/>
                      </a:cubicBezTo>
                      <a:lnTo>
                        <a:pt x="9844" y="81799"/>
                      </a:lnTo>
                      <a:cubicBezTo>
                        <a:pt x="4407" y="81799"/>
                        <a:pt x="0" y="77390"/>
                        <a:pt x="0" y="71952"/>
                      </a:cubicBezTo>
                      <a:lnTo>
                        <a:pt x="0" y="9847"/>
                      </a:lnTo>
                      <a:cubicBezTo>
                        <a:pt x="0" y="4409"/>
                        <a:pt x="4407" y="0"/>
                        <a:pt x="9844" y="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3" name="Freihandform 312">
                  <a:extLst>
                    <a:ext uri="{FF2B5EF4-FFF2-40B4-BE49-F238E27FC236}">
                      <a16:creationId xmlns:a16="http://schemas.microsoft.com/office/drawing/2014/main" id="{D2933299-3613-5C70-221E-D9A7103209F3}"/>
                    </a:ext>
                  </a:extLst>
                </p:cNvPr>
                <p:cNvSpPr/>
                <p:nvPr/>
              </p:nvSpPr>
              <p:spPr>
                <a:xfrm>
                  <a:off x="9649076" y="5485078"/>
                  <a:ext cx="412256" cy="81798"/>
                </a:xfrm>
                <a:custGeom>
                  <a:avLst/>
                  <a:gdLst>
                    <a:gd name="connsiteX0" fmla="*/ 402412 w 412256"/>
                    <a:gd name="connsiteY0" fmla="*/ 0 h 81798"/>
                    <a:gd name="connsiteX1" fmla="*/ 412256 w 412256"/>
                    <a:gd name="connsiteY1" fmla="*/ 9847 h 81798"/>
                    <a:gd name="connsiteX2" fmla="*/ 412256 w 412256"/>
                    <a:gd name="connsiteY2" fmla="*/ 71951 h 81798"/>
                    <a:gd name="connsiteX3" fmla="*/ 402412 w 412256"/>
                    <a:gd name="connsiteY3" fmla="*/ 81799 h 81798"/>
                    <a:gd name="connsiteX4" fmla="*/ 9844 w 412256"/>
                    <a:gd name="connsiteY4" fmla="*/ 81799 h 81798"/>
                    <a:gd name="connsiteX5" fmla="*/ 0 w 412256"/>
                    <a:gd name="connsiteY5" fmla="*/ 71951 h 81798"/>
                    <a:gd name="connsiteX6" fmla="*/ 0 w 412256"/>
                    <a:gd name="connsiteY6" fmla="*/ 9847 h 81798"/>
                    <a:gd name="connsiteX7" fmla="*/ 9844 w 412256"/>
                    <a:gd name="connsiteY7" fmla="*/ 0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2256" h="81798">
                      <a:moveTo>
                        <a:pt x="402412" y="0"/>
                      </a:moveTo>
                      <a:cubicBezTo>
                        <a:pt x="407849" y="0"/>
                        <a:pt x="412256" y="4409"/>
                        <a:pt x="412256" y="9847"/>
                      </a:cubicBezTo>
                      <a:lnTo>
                        <a:pt x="412256" y="71951"/>
                      </a:lnTo>
                      <a:cubicBezTo>
                        <a:pt x="412256" y="77390"/>
                        <a:pt x="407849" y="81799"/>
                        <a:pt x="402412" y="81799"/>
                      </a:cubicBezTo>
                      <a:lnTo>
                        <a:pt x="9844" y="81799"/>
                      </a:lnTo>
                      <a:cubicBezTo>
                        <a:pt x="4407" y="81799"/>
                        <a:pt x="0" y="77390"/>
                        <a:pt x="0" y="71951"/>
                      </a:cubicBezTo>
                      <a:lnTo>
                        <a:pt x="0" y="9847"/>
                      </a:lnTo>
                      <a:cubicBezTo>
                        <a:pt x="0" y="4409"/>
                        <a:pt x="4407" y="0"/>
                        <a:pt x="9844" y="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4" name="Freihandform 313">
                  <a:extLst>
                    <a:ext uri="{FF2B5EF4-FFF2-40B4-BE49-F238E27FC236}">
                      <a16:creationId xmlns:a16="http://schemas.microsoft.com/office/drawing/2014/main" id="{86EBF534-818E-49C0-78A4-86B7D56A9065}"/>
                    </a:ext>
                  </a:extLst>
                </p:cNvPr>
                <p:cNvSpPr/>
                <p:nvPr/>
              </p:nvSpPr>
              <p:spPr>
                <a:xfrm>
                  <a:off x="9649076" y="5581553"/>
                  <a:ext cx="412256" cy="81798"/>
                </a:xfrm>
                <a:custGeom>
                  <a:avLst/>
                  <a:gdLst>
                    <a:gd name="connsiteX0" fmla="*/ 402412 w 412256"/>
                    <a:gd name="connsiteY0" fmla="*/ 0 h 81798"/>
                    <a:gd name="connsiteX1" fmla="*/ 412256 w 412256"/>
                    <a:gd name="connsiteY1" fmla="*/ 9847 h 81798"/>
                    <a:gd name="connsiteX2" fmla="*/ 412256 w 412256"/>
                    <a:gd name="connsiteY2" fmla="*/ 71951 h 81798"/>
                    <a:gd name="connsiteX3" fmla="*/ 402412 w 412256"/>
                    <a:gd name="connsiteY3" fmla="*/ 81798 h 81798"/>
                    <a:gd name="connsiteX4" fmla="*/ 9844 w 412256"/>
                    <a:gd name="connsiteY4" fmla="*/ 81798 h 81798"/>
                    <a:gd name="connsiteX5" fmla="*/ 0 w 412256"/>
                    <a:gd name="connsiteY5" fmla="*/ 71951 h 81798"/>
                    <a:gd name="connsiteX6" fmla="*/ 0 w 412256"/>
                    <a:gd name="connsiteY6" fmla="*/ 9847 h 81798"/>
                    <a:gd name="connsiteX7" fmla="*/ 9844 w 412256"/>
                    <a:gd name="connsiteY7" fmla="*/ 0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2256" h="81798">
                      <a:moveTo>
                        <a:pt x="402412" y="0"/>
                      </a:moveTo>
                      <a:cubicBezTo>
                        <a:pt x="407849" y="0"/>
                        <a:pt x="412256" y="4409"/>
                        <a:pt x="412256" y="9847"/>
                      </a:cubicBezTo>
                      <a:lnTo>
                        <a:pt x="412256" y="71951"/>
                      </a:lnTo>
                      <a:cubicBezTo>
                        <a:pt x="412256" y="77390"/>
                        <a:pt x="407849" y="81798"/>
                        <a:pt x="402412" y="81798"/>
                      </a:cubicBezTo>
                      <a:lnTo>
                        <a:pt x="9844" y="81798"/>
                      </a:lnTo>
                      <a:cubicBezTo>
                        <a:pt x="4407" y="81798"/>
                        <a:pt x="0" y="77389"/>
                        <a:pt x="0" y="71951"/>
                      </a:cubicBezTo>
                      <a:lnTo>
                        <a:pt x="0" y="9847"/>
                      </a:lnTo>
                      <a:cubicBezTo>
                        <a:pt x="0" y="4408"/>
                        <a:pt x="4407" y="0"/>
                        <a:pt x="9844" y="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15" name="Grafik 5">
                  <a:extLst>
                    <a:ext uri="{FF2B5EF4-FFF2-40B4-BE49-F238E27FC236}">
                      <a16:creationId xmlns:a16="http://schemas.microsoft.com/office/drawing/2014/main" id="{438093F2-AFB7-5462-5D46-096A4774AF1F}"/>
                    </a:ext>
                  </a:extLst>
                </p:cNvPr>
                <p:cNvGrpSpPr/>
                <p:nvPr/>
              </p:nvGrpSpPr>
              <p:grpSpPr>
                <a:xfrm>
                  <a:off x="9935328" y="5388591"/>
                  <a:ext cx="126003" cy="274748"/>
                  <a:chOff x="9935328" y="5388591"/>
                  <a:chExt cx="126003" cy="274748"/>
                </a:xfrm>
                <a:solidFill>
                  <a:srgbClr val="6CB4AD"/>
                </a:solidFill>
              </p:grpSpPr>
              <p:sp>
                <p:nvSpPr>
                  <p:cNvPr id="316" name="Freihandform 315">
                    <a:extLst>
                      <a:ext uri="{FF2B5EF4-FFF2-40B4-BE49-F238E27FC236}">
                        <a16:creationId xmlns:a16="http://schemas.microsoft.com/office/drawing/2014/main" id="{1F50CC9D-7DB0-B9C8-699E-59F280E71E64}"/>
                      </a:ext>
                    </a:extLst>
                  </p:cNvPr>
                  <p:cNvSpPr/>
                  <p:nvPr/>
                </p:nvSpPr>
                <p:spPr>
                  <a:xfrm>
                    <a:off x="9935328" y="5388591"/>
                    <a:ext cx="126003" cy="81798"/>
                  </a:xfrm>
                  <a:custGeom>
                    <a:avLst/>
                    <a:gdLst>
                      <a:gd name="connsiteX0" fmla="*/ 126004 w 126003"/>
                      <a:gd name="connsiteY0" fmla="*/ 71964 h 81798"/>
                      <a:gd name="connsiteX1" fmla="*/ 126004 w 126003"/>
                      <a:gd name="connsiteY1" fmla="*/ 9847 h 81798"/>
                      <a:gd name="connsiteX2" fmla="*/ 116159 w 126003"/>
                      <a:gd name="connsiteY2" fmla="*/ 0 h 81798"/>
                      <a:gd name="connsiteX3" fmla="*/ 0 w 126003"/>
                      <a:gd name="connsiteY3" fmla="*/ 0 h 81798"/>
                      <a:gd name="connsiteX4" fmla="*/ 0 w 126003"/>
                      <a:gd name="connsiteY4" fmla="*/ 81798 h 81798"/>
                      <a:gd name="connsiteX5" fmla="*/ 116159 w 126003"/>
                      <a:gd name="connsiteY5" fmla="*/ 81798 h 81798"/>
                      <a:gd name="connsiteX6" fmla="*/ 126004 w 126003"/>
                      <a:gd name="connsiteY6" fmla="*/ 71951 h 81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6003" h="81798">
                        <a:moveTo>
                          <a:pt x="126004" y="71964"/>
                        </a:moveTo>
                        <a:lnTo>
                          <a:pt x="126004" y="9847"/>
                        </a:lnTo>
                        <a:cubicBezTo>
                          <a:pt x="126004" y="4412"/>
                          <a:pt x="121593" y="0"/>
                          <a:pt x="116159" y="0"/>
                        </a:cubicBezTo>
                        <a:lnTo>
                          <a:pt x="0" y="0"/>
                        </a:lnTo>
                        <a:lnTo>
                          <a:pt x="0" y="81798"/>
                        </a:lnTo>
                        <a:lnTo>
                          <a:pt x="116159" y="81798"/>
                        </a:lnTo>
                        <a:cubicBezTo>
                          <a:pt x="121593" y="81798"/>
                          <a:pt x="126004" y="77387"/>
                          <a:pt x="126004" y="71951"/>
                        </a:cubicBez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7" name="Freihandform 316">
                    <a:extLst>
                      <a:ext uri="{FF2B5EF4-FFF2-40B4-BE49-F238E27FC236}">
                        <a16:creationId xmlns:a16="http://schemas.microsoft.com/office/drawing/2014/main" id="{B2F6A734-D0D0-89E6-C298-A59BA36B411C}"/>
                      </a:ext>
                    </a:extLst>
                  </p:cNvPr>
                  <p:cNvSpPr/>
                  <p:nvPr/>
                </p:nvSpPr>
                <p:spPr>
                  <a:xfrm>
                    <a:off x="9935328" y="5485066"/>
                    <a:ext cx="126003" cy="81798"/>
                  </a:xfrm>
                  <a:custGeom>
                    <a:avLst/>
                    <a:gdLst>
                      <a:gd name="connsiteX0" fmla="*/ 126004 w 126003"/>
                      <a:gd name="connsiteY0" fmla="*/ 71964 h 81798"/>
                      <a:gd name="connsiteX1" fmla="*/ 126004 w 126003"/>
                      <a:gd name="connsiteY1" fmla="*/ 9847 h 81798"/>
                      <a:gd name="connsiteX2" fmla="*/ 116159 w 126003"/>
                      <a:gd name="connsiteY2" fmla="*/ 0 h 81798"/>
                      <a:gd name="connsiteX3" fmla="*/ 0 w 126003"/>
                      <a:gd name="connsiteY3" fmla="*/ 0 h 81798"/>
                      <a:gd name="connsiteX4" fmla="*/ 0 w 126003"/>
                      <a:gd name="connsiteY4" fmla="*/ 81799 h 81798"/>
                      <a:gd name="connsiteX5" fmla="*/ 116159 w 126003"/>
                      <a:gd name="connsiteY5" fmla="*/ 81799 h 81798"/>
                      <a:gd name="connsiteX6" fmla="*/ 126004 w 126003"/>
                      <a:gd name="connsiteY6" fmla="*/ 71951 h 81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6003" h="81798">
                        <a:moveTo>
                          <a:pt x="126004" y="71964"/>
                        </a:moveTo>
                        <a:lnTo>
                          <a:pt x="126004" y="9847"/>
                        </a:lnTo>
                        <a:cubicBezTo>
                          <a:pt x="126004" y="4412"/>
                          <a:pt x="121593" y="0"/>
                          <a:pt x="116159" y="0"/>
                        </a:cubicBezTo>
                        <a:lnTo>
                          <a:pt x="0" y="0"/>
                        </a:lnTo>
                        <a:lnTo>
                          <a:pt x="0" y="81799"/>
                        </a:lnTo>
                        <a:lnTo>
                          <a:pt x="116159" y="81799"/>
                        </a:lnTo>
                        <a:cubicBezTo>
                          <a:pt x="121593" y="81799"/>
                          <a:pt x="126004" y="77387"/>
                          <a:pt x="126004" y="71951"/>
                        </a:cubicBez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Freihandform 317">
                    <a:extLst>
                      <a:ext uri="{FF2B5EF4-FFF2-40B4-BE49-F238E27FC236}">
                        <a16:creationId xmlns:a16="http://schemas.microsoft.com/office/drawing/2014/main" id="{9B47E802-6074-008F-D7CC-6026254F4197}"/>
                      </a:ext>
                    </a:extLst>
                  </p:cNvPr>
                  <p:cNvSpPr/>
                  <p:nvPr/>
                </p:nvSpPr>
                <p:spPr>
                  <a:xfrm>
                    <a:off x="9935328" y="5581540"/>
                    <a:ext cx="126003" cy="81798"/>
                  </a:xfrm>
                  <a:custGeom>
                    <a:avLst/>
                    <a:gdLst>
                      <a:gd name="connsiteX0" fmla="*/ 126004 w 126003"/>
                      <a:gd name="connsiteY0" fmla="*/ 71964 h 81798"/>
                      <a:gd name="connsiteX1" fmla="*/ 126004 w 126003"/>
                      <a:gd name="connsiteY1" fmla="*/ 9847 h 81798"/>
                      <a:gd name="connsiteX2" fmla="*/ 116159 w 126003"/>
                      <a:gd name="connsiteY2" fmla="*/ 0 h 81798"/>
                      <a:gd name="connsiteX3" fmla="*/ 0 w 126003"/>
                      <a:gd name="connsiteY3" fmla="*/ 0 h 81798"/>
                      <a:gd name="connsiteX4" fmla="*/ 0 w 126003"/>
                      <a:gd name="connsiteY4" fmla="*/ 81799 h 81798"/>
                      <a:gd name="connsiteX5" fmla="*/ 116159 w 126003"/>
                      <a:gd name="connsiteY5" fmla="*/ 81799 h 81798"/>
                      <a:gd name="connsiteX6" fmla="*/ 126004 w 126003"/>
                      <a:gd name="connsiteY6" fmla="*/ 71952 h 81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6003" h="81798">
                        <a:moveTo>
                          <a:pt x="126004" y="71964"/>
                        </a:moveTo>
                        <a:lnTo>
                          <a:pt x="126004" y="9847"/>
                        </a:lnTo>
                        <a:cubicBezTo>
                          <a:pt x="126004" y="4412"/>
                          <a:pt x="121593" y="0"/>
                          <a:pt x="116159" y="0"/>
                        </a:cubicBezTo>
                        <a:lnTo>
                          <a:pt x="0" y="0"/>
                        </a:lnTo>
                        <a:lnTo>
                          <a:pt x="0" y="81799"/>
                        </a:lnTo>
                        <a:lnTo>
                          <a:pt x="116159" y="81799"/>
                        </a:lnTo>
                        <a:cubicBezTo>
                          <a:pt x="121593" y="81799"/>
                          <a:pt x="126004" y="77387"/>
                          <a:pt x="126004" y="71952"/>
                        </a:cubicBez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19" name="Grafik 5">
                  <a:extLst>
                    <a:ext uri="{FF2B5EF4-FFF2-40B4-BE49-F238E27FC236}">
                      <a16:creationId xmlns:a16="http://schemas.microsoft.com/office/drawing/2014/main" id="{90DCBBFF-D9CE-E62F-94F6-EDF466ACB7DC}"/>
                    </a:ext>
                  </a:extLst>
                </p:cNvPr>
                <p:cNvGrpSpPr/>
                <p:nvPr/>
              </p:nvGrpSpPr>
              <p:grpSpPr>
                <a:xfrm>
                  <a:off x="9666477" y="5614849"/>
                  <a:ext cx="377441" cy="15219"/>
                  <a:chOff x="9666477" y="5614849"/>
                  <a:chExt cx="377441" cy="15219"/>
                </a:xfrm>
              </p:grpSpPr>
              <p:grpSp>
                <p:nvGrpSpPr>
                  <p:cNvPr id="320" name="Grafik 5">
                    <a:extLst>
                      <a:ext uri="{FF2B5EF4-FFF2-40B4-BE49-F238E27FC236}">
                        <a16:creationId xmlns:a16="http://schemas.microsoft.com/office/drawing/2014/main" id="{2447AA55-DF2F-7744-119A-D4505C65178A}"/>
                      </a:ext>
                    </a:extLst>
                  </p:cNvPr>
                  <p:cNvGrpSpPr/>
                  <p:nvPr/>
                </p:nvGrpSpPr>
                <p:grpSpPr>
                  <a:xfrm>
                    <a:off x="9666477" y="5615860"/>
                    <a:ext cx="99124" cy="13197"/>
                    <a:chOff x="9666477" y="5615860"/>
                    <a:chExt cx="99124" cy="13197"/>
                  </a:xfrm>
                  <a:solidFill>
                    <a:srgbClr val="FFFFFF"/>
                  </a:solidFill>
                </p:grpSpPr>
                <p:sp>
                  <p:nvSpPr>
                    <p:cNvPr id="321" name="Freihandform 320">
                      <a:extLst>
                        <a:ext uri="{FF2B5EF4-FFF2-40B4-BE49-F238E27FC236}">
                          <a16:creationId xmlns:a16="http://schemas.microsoft.com/office/drawing/2014/main" id="{70FBE483-6714-FB09-5202-EF9C42EF74D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666477" y="5615860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2" name="Freihandform 321">
                      <a:extLst>
                        <a:ext uri="{FF2B5EF4-FFF2-40B4-BE49-F238E27FC236}">
                          <a16:creationId xmlns:a16="http://schemas.microsoft.com/office/drawing/2014/main" id="{AD6462C8-68D6-1245-80AC-E89780A23B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695125" y="5615860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3" name="Freihandform 322">
                      <a:extLst>
                        <a:ext uri="{FF2B5EF4-FFF2-40B4-BE49-F238E27FC236}">
                          <a16:creationId xmlns:a16="http://schemas.microsoft.com/office/drawing/2014/main" id="{D87054FC-F0C8-0989-9D1B-EEC7CFA538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723773" y="5615860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4" name="Freihandform 323">
                      <a:extLst>
                        <a:ext uri="{FF2B5EF4-FFF2-40B4-BE49-F238E27FC236}">
                          <a16:creationId xmlns:a16="http://schemas.microsoft.com/office/drawing/2014/main" id="{8EB2020A-BFF0-18C5-2BEA-BFE93B172E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752408" y="5615860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325" name="Freihandform 324">
                    <a:extLst>
                      <a:ext uri="{FF2B5EF4-FFF2-40B4-BE49-F238E27FC236}">
                        <a16:creationId xmlns:a16="http://schemas.microsoft.com/office/drawing/2014/main" id="{E653A080-D8D9-9A25-7470-16E8535C01FD}"/>
                      </a:ext>
                    </a:extLst>
                  </p:cNvPr>
                  <p:cNvSpPr/>
                  <p:nvPr/>
                </p:nvSpPr>
                <p:spPr>
                  <a:xfrm>
                    <a:off x="9999537" y="5614849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8 w 15214"/>
                      <a:gd name="connsiteY1" fmla="*/ 15219 h 15219"/>
                      <a:gd name="connsiteX2" fmla="*/ 0 w 15214"/>
                      <a:gd name="connsiteY2" fmla="*/ 7610 h 15219"/>
                      <a:gd name="connsiteX3" fmla="*/ 7608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3"/>
                          <a:pt x="11809" y="15219"/>
                          <a:pt x="7608" y="15219"/>
                        </a:cubicBezTo>
                        <a:cubicBezTo>
                          <a:pt x="3407" y="15219"/>
                          <a:pt x="0" y="11812"/>
                          <a:pt x="0" y="7610"/>
                        </a:cubicBezTo>
                        <a:cubicBezTo>
                          <a:pt x="0" y="3407"/>
                          <a:pt x="3407" y="0"/>
                          <a:pt x="7608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B8DEDA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6" name="Freihandform 325">
                    <a:extLst>
                      <a:ext uri="{FF2B5EF4-FFF2-40B4-BE49-F238E27FC236}">
                        <a16:creationId xmlns:a16="http://schemas.microsoft.com/office/drawing/2014/main" id="{AF656932-0364-E70A-19F8-DBF4C45B0337}"/>
                      </a:ext>
                    </a:extLst>
                  </p:cNvPr>
                  <p:cNvSpPr/>
                  <p:nvPr/>
                </p:nvSpPr>
                <p:spPr>
                  <a:xfrm>
                    <a:off x="10028703" y="5614849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8 w 15214"/>
                      <a:gd name="connsiteY1" fmla="*/ 15219 h 15219"/>
                      <a:gd name="connsiteX2" fmla="*/ 0 w 15214"/>
                      <a:gd name="connsiteY2" fmla="*/ 7610 h 15219"/>
                      <a:gd name="connsiteX3" fmla="*/ 7608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3"/>
                          <a:pt x="11809" y="15219"/>
                          <a:pt x="7608" y="15219"/>
                        </a:cubicBezTo>
                        <a:cubicBezTo>
                          <a:pt x="3406" y="15219"/>
                          <a:pt x="0" y="11812"/>
                          <a:pt x="0" y="7610"/>
                        </a:cubicBezTo>
                        <a:cubicBezTo>
                          <a:pt x="0" y="3407"/>
                          <a:pt x="3406" y="0"/>
                          <a:pt x="7608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9BBA43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27" name="Grafik 5">
                  <a:extLst>
                    <a:ext uri="{FF2B5EF4-FFF2-40B4-BE49-F238E27FC236}">
                      <a16:creationId xmlns:a16="http://schemas.microsoft.com/office/drawing/2014/main" id="{86FFA508-E8B3-55B8-2F4F-6FF3AD6E62B9}"/>
                    </a:ext>
                  </a:extLst>
                </p:cNvPr>
                <p:cNvGrpSpPr/>
                <p:nvPr/>
              </p:nvGrpSpPr>
              <p:grpSpPr>
                <a:xfrm>
                  <a:off x="9666477" y="5518361"/>
                  <a:ext cx="377441" cy="15219"/>
                  <a:chOff x="9666477" y="5518361"/>
                  <a:chExt cx="377441" cy="15219"/>
                </a:xfrm>
              </p:grpSpPr>
              <p:grpSp>
                <p:nvGrpSpPr>
                  <p:cNvPr id="328" name="Grafik 5">
                    <a:extLst>
                      <a:ext uri="{FF2B5EF4-FFF2-40B4-BE49-F238E27FC236}">
                        <a16:creationId xmlns:a16="http://schemas.microsoft.com/office/drawing/2014/main" id="{C2BF2354-1096-E99C-9564-16F3C3B41C39}"/>
                      </a:ext>
                    </a:extLst>
                  </p:cNvPr>
                  <p:cNvGrpSpPr/>
                  <p:nvPr/>
                </p:nvGrpSpPr>
                <p:grpSpPr>
                  <a:xfrm>
                    <a:off x="9666477" y="5519373"/>
                    <a:ext cx="99124" cy="13197"/>
                    <a:chOff x="9666477" y="5519373"/>
                    <a:chExt cx="99124" cy="13197"/>
                  </a:xfrm>
                  <a:solidFill>
                    <a:srgbClr val="FFFFFF"/>
                  </a:solidFill>
                </p:grpSpPr>
                <p:sp>
                  <p:nvSpPr>
                    <p:cNvPr id="329" name="Freihandform 328">
                      <a:extLst>
                        <a:ext uri="{FF2B5EF4-FFF2-40B4-BE49-F238E27FC236}">
                          <a16:creationId xmlns:a16="http://schemas.microsoft.com/office/drawing/2014/main" id="{C33D853D-EC18-A9BD-1D16-F8B8AE88D9D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666477" y="5519373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0" name="Freihandform 329">
                      <a:extLst>
                        <a:ext uri="{FF2B5EF4-FFF2-40B4-BE49-F238E27FC236}">
                          <a16:creationId xmlns:a16="http://schemas.microsoft.com/office/drawing/2014/main" id="{44EE97E7-207C-33DD-BF69-A64AF8A503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695125" y="5519373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1" name="Freihandform 330">
                      <a:extLst>
                        <a:ext uri="{FF2B5EF4-FFF2-40B4-BE49-F238E27FC236}">
                          <a16:creationId xmlns:a16="http://schemas.microsoft.com/office/drawing/2014/main" id="{6C522A60-D3CD-7411-7E63-52759A0FA1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723773" y="5519373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2" name="Freihandform 331">
                      <a:extLst>
                        <a:ext uri="{FF2B5EF4-FFF2-40B4-BE49-F238E27FC236}">
                          <a16:creationId xmlns:a16="http://schemas.microsoft.com/office/drawing/2014/main" id="{4A35972D-8A1F-3574-B2C3-7574804942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752408" y="5519373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333" name="Freihandform 332">
                    <a:extLst>
                      <a:ext uri="{FF2B5EF4-FFF2-40B4-BE49-F238E27FC236}">
                        <a16:creationId xmlns:a16="http://schemas.microsoft.com/office/drawing/2014/main" id="{A2C9B342-DBC5-C6A7-B1F1-C9639C2E96DD}"/>
                      </a:ext>
                    </a:extLst>
                  </p:cNvPr>
                  <p:cNvSpPr/>
                  <p:nvPr/>
                </p:nvSpPr>
                <p:spPr>
                  <a:xfrm>
                    <a:off x="9999537" y="5518361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8 w 15214"/>
                      <a:gd name="connsiteY1" fmla="*/ 15219 h 15219"/>
                      <a:gd name="connsiteX2" fmla="*/ 0 w 15214"/>
                      <a:gd name="connsiteY2" fmla="*/ 7610 h 15219"/>
                      <a:gd name="connsiteX3" fmla="*/ 7608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3"/>
                          <a:pt x="11809" y="15219"/>
                          <a:pt x="7608" y="15219"/>
                        </a:cubicBezTo>
                        <a:cubicBezTo>
                          <a:pt x="3407" y="15219"/>
                          <a:pt x="0" y="11812"/>
                          <a:pt x="0" y="7610"/>
                        </a:cubicBezTo>
                        <a:cubicBezTo>
                          <a:pt x="0" y="3407"/>
                          <a:pt x="3407" y="0"/>
                          <a:pt x="7608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B8DEDA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4" name="Freihandform 333">
                    <a:extLst>
                      <a:ext uri="{FF2B5EF4-FFF2-40B4-BE49-F238E27FC236}">
                        <a16:creationId xmlns:a16="http://schemas.microsoft.com/office/drawing/2014/main" id="{929CC236-20BA-D2B2-CB88-3E719E7A82E8}"/>
                      </a:ext>
                    </a:extLst>
                  </p:cNvPr>
                  <p:cNvSpPr/>
                  <p:nvPr/>
                </p:nvSpPr>
                <p:spPr>
                  <a:xfrm>
                    <a:off x="10028703" y="5518361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8 w 15214"/>
                      <a:gd name="connsiteY1" fmla="*/ 15219 h 15219"/>
                      <a:gd name="connsiteX2" fmla="*/ 0 w 15214"/>
                      <a:gd name="connsiteY2" fmla="*/ 7610 h 15219"/>
                      <a:gd name="connsiteX3" fmla="*/ 7608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3"/>
                          <a:pt x="11809" y="15219"/>
                          <a:pt x="7608" y="15219"/>
                        </a:cubicBezTo>
                        <a:cubicBezTo>
                          <a:pt x="3406" y="15219"/>
                          <a:pt x="0" y="11812"/>
                          <a:pt x="0" y="7610"/>
                        </a:cubicBezTo>
                        <a:cubicBezTo>
                          <a:pt x="0" y="3407"/>
                          <a:pt x="3406" y="0"/>
                          <a:pt x="7608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9BBA43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35" name="Grafik 5">
                  <a:extLst>
                    <a:ext uri="{FF2B5EF4-FFF2-40B4-BE49-F238E27FC236}">
                      <a16:creationId xmlns:a16="http://schemas.microsoft.com/office/drawing/2014/main" id="{C703FF51-6E72-3544-4469-56F2A23E3D6F}"/>
                    </a:ext>
                  </a:extLst>
                </p:cNvPr>
                <p:cNvGrpSpPr/>
                <p:nvPr/>
              </p:nvGrpSpPr>
              <p:grpSpPr>
                <a:xfrm>
                  <a:off x="9666477" y="5421887"/>
                  <a:ext cx="377441" cy="15219"/>
                  <a:chOff x="9666477" y="5421887"/>
                  <a:chExt cx="377441" cy="15219"/>
                </a:xfrm>
              </p:grpSpPr>
              <p:grpSp>
                <p:nvGrpSpPr>
                  <p:cNvPr id="336" name="Grafik 5">
                    <a:extLst>
                      <a:ext uri="{FF2B5EF4-FFF2-40B4-BE49-F238E27FC236}">
                        <a16:creationId xmlns:a16="http://schemas.microsoft.com/office/drawing/2014/main" id="{C0348EB9-CB02-6823-9DE7-C9AD797609EA}"/>
                      </a:ext>
                    </a:extLst>
                  </p:cNvPr>
                  <p:cNvGrpSpPr/>
                  <p:nvPr/>
                </p:nvGrpSpPr>
                <p:grpSpPr>
                  <a:xfrm>
                    <a:off x="9666477" y="5422898"/>
                    <a:ext cx="99124" cy="13197"/>
                    <a:chOff x="9666477" y="5422898"/>
                    <a:chExt cx="99124" cy="13197"/>
                  </a:xfrm>
                  <a:solidFill>
                    <a:srgbClr val="FFFFFF"/>
                  </a:solidFill>
                </p:grpSpPr>
                <p:sp>
                  <p:nvSpPr>
                    <p:cNvPr id="337" name="Freihandform 336">
                      <a:extLst>
                        <a:ext uri="{FF2B5EF4-FFF2-40B4-BE49-F238E27FC236}">
                          <a16:creationId xmlns:a16="http://schemas.microsoft.com/office/drawing/2014/main" id="{7E6F0474-E892-CA55-60E2-3F89424A8C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666477" y="5422898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8" name="Freihandform 337">
                      <a:extLst>
                        <a:ext uri="{FF2B5EF4-FFF2-40B4-BE49-F238E27FC236}">
                          <a16:creationId xmlns:a16="http://schemas.microsoft.com/office/drawing/2014/main" id="{9A2FA220-5031-0318-F3EF-609FDA82B1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695125" y="5422898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9" name="Freihandform 338">
                      <a:extLst>
                        <a:ext uri="{FF2B5EF4-FFF2-40B4-BE49-F238E27FC236}">
                          <a16:creationId xmlns:a16="http://schemas.microsoft.com/office/drawing/2014/main" id="{A52633B5-08B6-D79D-DF8C-DF2B435B92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723773" y="5422898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40" name="Freihandform 339">
                      <a:extLst>
                        <a:ext uri="{FF2B5EF4-FFF2-40B4-BE49-F238E27FC236}">
                          <a16:creationId xmlns:a16="http://schemas.microsoft.com/office/drawing/2014/main" id="{A05DEE14-41F8-F7A7-AE33-0D3603EB95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752408" y="5422898"/>
                      <a:ext cx="13193" cy="13197"/>
                    </a:xfrm>
                    <a:custGeom>
                      <a:avLst/>
                      <a:gdLst>
                        <a:gd name="connsiteX0" fmla="*/ 0 w 13193"/>
                        <a:gd name="connsiteY0" fmla="*/ 0 h 13197"/>
                        <a:gd name="connsiteX1" fmla="*/ 13193 w 13193"/>
                        <a:gd name="connsiteY1" fmla="*/ 0 h 13197"/>
                        <a:gd name="connsiteX2" fmla="*/ 13193 w 13193"/>
                        <a:gd name="connsiteY2" fmla="*/ 13197 h 13197"/>
                        <a:gd name="connsiteX3" fmla="*/ 0 w 13193"/>
                        <a:gd name="connsiteY3" fmla="*/ 13197 h 1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193" h="13197">
                          <a:moveTo>
                            <a:pt x="0" y="0"/>
                          </a:moveTo>
                          <a:lnTo>
                            <a:pt x="13193" y="0"/>
                          </a:lnTo>
                          <a:lnTo>
                            <a:pt x="13193" y="13197"/>
                          </a:lnTo>
                          <a:lnTo>
                            <a:pt x="0" y="1319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341" name="Freihandform 340">
                    <a:extLst>
                      <a:ext uri="{FF2B5EF4-FFF2-40B4-BE49-F238E27FC236}">
                        <a16:creationId xmlns:a16="http://schemas.microsoft.com/office/drawing/2014/main" id="{9615E2C7-D771-8DB6-BB0A-26D8816365CB}"/>
                      </a:ext>
                    </a:extLst>
                  </p:cNvPr>
                  <p:cNvSpPr/>
                  <p:nvPr/>
                </p:nvSpPr>
                <p:spPr>
                  <a:xfrm>
                    <a:off x="9999537" y="5421887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8 w 15214"/>
                      <a:gd name="connsiteY1" fmla="*/ 15219 h 15219"/>
                      <a:gd name="connsiteX2" fmla="*/ 0 w 15214"/>
                      <a:gd name="connsiteY2" fmla="*/ 7610 h 15219"/>
                      <a:gd name="connsiteX3" fmla="*/ 7608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3"/>
                          <a:pt x="11809" y="15219"/>
                          <a:pt x="7608" y="15219"/>
                        </a:cubicBezTo>
                        <a:cubicBezTo>
                          <a:pt x="3407" y="15219"/>
                          <a:pt x="0" y="11812"/>
                          <a:pt x="0" y="7610"/>
                        </a:cubicBezTo>
                        <a:cubicBezTo>
                          <a:pt x="0" y="3407"/>
                          <a:pt x="3407" y="0"/>
                          <a:pt x="7608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B8DEDA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2" name="Freihandform 341">
                    <a:extLst>
                      <a:ext uri="{FF2B5EF4-FFF2-40B4-BE49-F238E27FC236}">
                        <a16:creationId xmlns:a16="http://schemas.microsoft.com/office/drawing/2014/main" id="{3B92AF27-C538-48DF-D68D-64711BD1F27A}"/>
                      </a:ext>
                    </a:extLst>
                  </p:cNvPr>
                  <p:cNvSpPr/>
                  <p:nvPr/>
                </p:nvSpPr>
                <p:spPr>
                  <a:xfrm>
                    <a:off x="10028703" y="5421887"/>
                    <a:ext cx="15214" cy="15219"/>
                  </a:xfrm>
                  <a:custGeom>
                    <a:avLst/>
                    <a:gdLst>
                      <a:gd name="connsiteX0" fmla="*/ 15215 w 15214"/>
                      <a:gd name="connsiteY0" fmla="*/ 7610 h 15219"/>
                      <a:gd name="connsiteX1" fmla="*/ 7608 w 15214"/>
                      <a:gd name="connsiteY1" fmla="*/ 15219 h 15219"/>
                      <a:gd name="connsiteX2" fmla="*/ 0 w 15214"/>
                      <a:gd name="connsiteY2" fmla="*/ 7610 h 15219"/>
                      <a:gd name="connsiteX3" fmla="*/ 7608 w 15214"/>
                      <a:gd name="connsiteY3" fmla="*/ 0 h 15219"/>
                      <a:gd name="connsiteX4" fmla="*/ 15215 w 15214"/>
                      <a:gd name="connsiteY4" fmla="*/ 7610 h 152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214" h="15219">
                        <a:moveTo>
                          <a:pt x="15215" y="7610"/>
                        </a:moveTo>
                        <a:cubicBezTo>
                          <a:pt x="15215" y="11813"/>
                          <a:pt x="11809" y="15219"/>
                          <a:pt x="7608" y="15219"/>
                        </a:cubicBezTo>
                        <a:cubicBezTo>
                          <a:pt x="3406" y="15219"/>
                          <a:pt x="0" y="11812"/>
                          <a:pt x="0" y="7610"/>
                        </a:cubicBezTo>
                        <a:cubicBezTo>
                          <a:pt x="0" y="3407"/>
                          <a:pt x="3406" y="0"/>
                          <a:pt x="7608" y="0"/>
                        </a:cubicBezTo>
                        <a:cubicBezTo>
                          <a:pt x="11809" y="0"/>
                          <a:pt x="15215" y="3407"/>
                          <a:pt x="15215" y="7610"/>
                        </a:cubicBezTo>
                        <a:close/>
                      </a:path>
                    </a:pathLst>
                  </a:custGeom>
                  <a:solidFill>
                    <a:srgbClr val="9BBA43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343" name="Grafik 5">
              <a:extLst>
                <a:ext uri="{FF2B5EF4-FFF2-40B4-BE49-F238E27FC236}">
                  <a16:creationId xmlns:a16="http://schemas.microsoft.com/office/drawing/2014/main" id="{856BAC6E-3A41-4111-A979-1F35CF70E8AD}"/>
                </a:ext>
              </a:extLst>
            </p:cNvPr>
            <p:cNvGrpSpPr/>
            <p:nvPr/>
          </p:nvGrpSpPr>
          <p:grpSpPr>
            <a:xfrm>
              <a:off x="10022195" y="5265899"/>
              <a:ext cx="166782" cy="185655"/>
              <a:chOff x="10022195" y="5265899"/>
              <a:chExt cx="166782" cy="185655"/>
            </a:xfrm>
          </p:grpSpPr>
          <p:sp>
            <p:nvSpPr>
              <p:cNvPr id="344" name="Freihandform 343">
                <a:extLst>
                  <a:ext uri="{FF2B5EF4-FFF2-40B4-BE49-F238E27FC236}">
                    <a16:creationId xmlns:a16="http://schemas.microsoft.com/office/drawing/2014/main" id="{39A20EA9-6FEE-F7B4-19B2-9A8D34F5384A}"/>
                  </a:ext>
                </a:extLst>
              </p:cNvPr>
              <p:cNvSpPr/>
              <p:nvPr/>
            </p:nvSpPr>
            <p:spPr>
              <a:xfrm>
                <a:off x="10022195" y="5265899"/>
                <a:ext cx="166782" cy="185655"/>
              </a:xfrm>
              <a:custGeom>
                <a:avLst/>
                <a:gdLst>
                  <a:gd name="connsiteX0" fmla="*/ 83391 w 166782"/>
                  <a:gd name="connsiteY0" fmla="*/ 0 h 185655"/>
                  <a:gd name="connsiteX1" fmla="*/ 130236 w 166782"/>
                  <a:gd name="connsiteY1" fmla="*/ 11301 h 185655"/>
                  <a:gd name="connsiteX2" fmla="*/ 166783 w 166782"/>
                  <a:gd name="connsiteY2" fmla="*/ 20984 h 185655"/>
                  <a:gd name="connsiteX3" fmla="*/ 154285 w 166782"/>
                  <a:gd name="connsiteY3" fmla="*/ 104439 h 185655"/>
                  <a:gd name="connsiteX4" fmla="*/ 83391 w 166782"/>
                  <a:gd name="connsiteY4" fmla="*/ 185656 h 185655"/>
                  <a:gd name="connsiteX5" fmla="*/ 12498 w 166782"/>
                  <a:gd name="connsiteY5" fmla="*/ 104439 h 185655"/>
                  <a:gd name="connsiteX6" fmla="*/ 0 w 166782"/>
                  <a:gd name="connsiteY6" fmla="*/ 20984 h 185655"/>
                  <a:gd name="connsiteX7" fmla="*/ 36546 w 166782"/>
                  <a:gd name="connsiteY7" fmla="*/ 11301 h 185655"/>
                  <a:gd name="connsiteX8" fmla="*/ 83391 w 166782"/>
                  <a:gd name="connsiteY8" fmla="*/ 0 h 185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6782" h="185655">
                    <a:moveTo>
                      <a:pt x="83391" y="0"/>
                    </a:moveTo>
                    <a:cubicBezTo>
                      <a:pt x="88143" y="1011"/>
                      <a:pt x="103421" y="4387"/>
                      <a:pt x="130236" y="11301"/>
                    </a:cubicBezTo>
                    <a:cubicBezTo>
                      <a:pt x="149015" y="16142"/>
                      <a:pt x="160566" y="19265"/>
                      <a:pt x="166783" y="20984"/>
                    </a:cubicBezTo>
                    <a:cubicBezTo>
                      <a:pt x="166530" y="32651"/>
                      <a:pt x="164736" y="61472"/>
                      <a:pt x="154285" y="104439"/>
                    </a:cubicBezTo>
                    <a:cubicBezTo>
                      <a:pt x="144138" y="146204"/>
                      <a:pt x="107515" y="170639"/>
                      <a:pt x="83391" y="185656"/>
                    </a:cubicBezTo>
                    <a:cubicBezTo>
                      <a:pt x="59268" y="170626"/>
                      <a:pt x="22645" y="146191"/>
                      <a:pt x="12498" y="104439"/>
                    </a:cubicBezTo>
                    <a:cubicBezTo>
                      <a:pt x="2059" y="61460"/>
                      <a:pt x="253" y="32639"/>
                      <a:pt x="0" y="20984"/>
                    </a:cubicBezTo>
                    <a:cubicBezTo>
                      <a:pt x="6217" y="19265"/>
                      <a:pt x="17768" y="16142"/>
                      <a:pt x="36546" y="11301"/>
                    </a:cubicBezTo>
                    <a:cubicBezTo>
                      <a:pt x="63375" y="4387"/>
                      <a:pt x="78640" y="1011"/>
                      <a:pt x="83391" y="0"/>
                    </a:cubicBezTo>
                  </a:path>
                </a:pathLst>
              </a:custGeom>
              <a:solidFill>
                <a:srgbClr val="9BBA43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5" name="Freihandform 344">
                <a:extLst>
                  <a:ext uri="{FF2B5EF4-FFF2-40B4-BE49-F238E27FC236}">
                    <a16:creationId xmlns:a16="http://schemas.microsoft.com/office/drawing/2014/main" id="{CA72FCBB-D546-E06D-CF73-2D2998B82CEB}"/>
                  </a:ext>
                </a:extLst>
              </p:cNvPr>
              <p:cNvSpPr/>
              <p:nvPr/>
            </p:nvSpPr>
            <p:spPr>
              <a:xfrm>
                <a:off x="10063417" y="5316601"/>
                <a:ext cx="93008" cy="72163"/>
              </a:xfrm>
              <a:custGeom>
                <a:avLst/>
                <a:gdLst>
                  <a:gd name="connsiteX0" fmla="*/ 33235 w 93008"/>
                  <a:gd name="connsiteY0" fmla="*/ 45229 h 72163"/>
                  <a:gd name="connsiteX1" fmla="*/ 34726 w 93008"/>
                  <a:gd name="connsiteY1" fmla="*/ 43801 h 72163"/>
                  <a:gd name="connsiteX2" fmla="*/ 77705 w 93008"/>
                  <a:gd name="connsiteY2" fmla="*/ 784 h 72163"/>
                  <a:gd name="connsiteX3" fmla="*/ 80750 w 93008"/>
                  <a:gd name="connsiteY3" fmla="*/ 733 h 72163"/>
                  <a:gd name="connsiteX4" fmla="*/ 92073 w 93008"/>
                  <a:gd name="connsiteY4" fmla="*/ 11895 h 72163"/>
                  <a:gd name="connsiteX5" fmla="*/ 93008 w 93008"/>
                  <a:gd name="connsiteY5" fmla="*/ 12982 h 72163"/>
                  <a:gd name="connsiteX6" fmla="*/ 91669 w 93008"/>
                  <a:gd name="connsiteY6" fmla="*/ 14449 h 72163"/>
                  <a:gd name="connsiteX7" fmla="*/ 34790 w 93008"/>
                  <a:gd name="connsiteY7" fmla="*/ 71383 h 72163"/>
                  <a:gd name="connsiteX8" fmla="*/ 31630 w 93008"/>
                  <a:gd name="connsiteY8" fmla="*/ 71370 h 72163"/>
                  <a:gd name="connsiteX9" fmla="*/ 884 w 93008"/>
                  <a:gd name="connsiteY9" fmla="*/ 40931 h 72163"/>
                  <a:gd name="connsiteX10" fmla="*/ 834 w 93008"/>
                  <a:gd name="connsiteY10" fmla="*/ 38074 h 72163"/>
                  <a:gd name="connsiteX11" fmla="*/ 12182 w 93008"/>
                  <a:gd name="connsiteY11" fmla="*/ 26937 h 72163"/>
                  <a:gd name="connsiteX12" fmla="*/ 14684 w 93008"/>
                  <a:gd name="connsiteY12" fmla="*/ 27013 h 72163"/>
                  <a:gd name="connsiteX13" fmla="*/ 31718 w 93008"/>
                  <a:gd name="connsiteY13" fmla="*/ 43826 h 72163"/>
                  <a:gd name="connsiteX14" fmla="*/ 33222 w 93008"/>
                  <a:gd name="connsiteY14" fmla="*/ 45242 h 72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3008" h="72163">
                    <a:moveTo>
                      <a:pt x="33235" y="45229"/>
                    </a:moveTo>
                    <a:cubicBezTo>
                      <a:pt x="33804" y="44685"/>
                      <a:pt x="34271" y="44256"/>
                      <a:pt x="34726" y="43801"/>
                    </a:cubicBezTo>
                    <a:cubicBezTo>
                      <a:pt x="49056" y="29466"/>
                      <a:pt x="63374" y="15118"/>
                      <a:pt x="77705" y="784"/>
                    </a:cubicBezTo>
                    <a:cubicBezTo>
                      <a:pt x="78724" y="-244"/>
                      <a:pt x="79740" y="-261"/>
                      <a:pt x="80750" y="733"/>
                    </a:cubicBezTo>
                    <a:cubicBezTo>
                      <a:pt x="84529" y="4450"/>
                      <a:pt x="88307" y="8166"/>
                      <a:pt x="92073" y="11895"/>
                    </a:cubicBezTo>
                    <a:cubicBezTo>
                      <a:pt x="92377" y="12198"/>
                      <a:pt x="92642" y="12540"/>
                      <a:pt x="93008" y="12982"/>
                    </a:cubicBezTo>
                    <a:cubicBezTo>
                      <a:pt x="92541" y="13500"/>
                      <a:pt x="92124" y="13993"/>
                      <a:pt x="91669" y="14449"/>
                    </a:cubicBezTo>
                    <a:cubicBezTo>
                      <a:pt x="72713" y="33435"/>
                      <a:pt x="53758" y="52409"/>
                      <a:pt x="34790" y="71383"/>
                    </a:cubicBezTo>
                    <a:cubicBezTo>
                      <a:pt x="33745" y="72428"/>
                      <a:pt x="32692" y="72424"/>
                      <a:pt x="31630" y="71370"/>
                    </a:cubicBezTo>
                    <a:cubicBezTo>
                      <a:pt x="21381" y="61219"/>
                      <a:pt x="11159" y="51044"/>
                      <a:pt x="884" y="40931"/>
                    </a:cubicBezTo>
                    <a:cubicBezTo>
                      <a:pt x="-215" y="39856"/>
                      <a:pt x="-354" y="39199"/>
                      <a:pt x="834" y="38074"/>
                    </a:cubicBezTo>
                    <a:cubicBezTo>
                      <a:pt x="4676" y="34434"/>
                      <a:pt x="8454" y="30704"/>
                      <a:pt x="12182" y="26937"/>
                    </a:cubicBezTo>
                    <a:cubicBezTo>
                      <a:pt x="13180" y="25926"/>
                      <a:pt x="13774" y="26103"/>
                      <a:pt x="14684" y="27013"/>
                    </a:cubicBezTo>
                    <a:cubicBezTo>
                      <a:pt x="20332" y="32651"/>
                      <a:pt x="26032" y="38226"/>
                      <a:pt x="31718" y="43826"/>
                    </a:cubicBezTo>
                    <a:cubicBezTo>
                      <a:pt x="32173" y="44281"/>
                      <a:pt x="32654" y="44711"/>
                      <a:pt x="33222" y="452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46" name="Grafik 5">
            <a:extLst>
              <a:ext uri="{FF2B5EF4-FFF2-40B4-BE49-F238E27FC236}">
                <a16:creationId xmlns:a16="http://schemas.microsoft.com/office/drawing/2014/main" id="{AF7E334A-6F7B-F3B8-E2D2-6891580B05C0}"/>
              </a:ext>
            </a:extLst>
          </p:cNvPr>
          <p:cNvGrpSpPr/>
          <p:nvPr/>
        </p:nvGrpSpPr>
        <p:grpSpPr>
          <a:xfrm>
            <a:off x="8117794" y="4693877"/>
            <a:ext cx="475378" cy="505215"/>
            <a:chOff x="8117794" y="4693877"/>
            <a:chExt cx="475378" cy="505215"/>
          </a:xfrm>
        </p:grpSpPr>
        <p:grpSp>
          <p:nvGrpSpPr>
            <p:cNvPr id="347" name="Grafik 5">
              <a:extLst>
                <a:ext uri="{FF2B5EF4-FFF2-40B4-BE49-F238E27FC236}">
                  <a16:creationId xmlns:a16="http://schemas.microsoft.com/office/drawing/2014/main" id="{8FC2FAC1-DDD2-9259-5F8D-003A3BE0677E}"/>
                </a:ext>
              </a:extLst>
            </p:cNvPr>
            <p:cNvGrpSpPr/>
            <p:nvPr/>
          </p:nvGrpSpPr>
          <p:grpSpPr>
            <a:xfrm>
              <a:off x="8117794" y="4693877"/>
              <a:ext cx="475378" cy="505215"/>
              <a:chOff x="8117794" y="4693877"/>
              <a:chExt cx="475378" cy="505215"/>
            </a:xfrm>
          </p:grpSpPr>
          <p:sp>
            <p:nvSpPr>
              <p:cNvPr id="348" name="Freihandform 347">
                <a:extLst>
                  <a:ext uri="{FF2B5EF4-FFF2-40B4-BE49-F238E27FC236}">
                    <a16:creationId xmlns:a16="http://schemas.microsoft.com/office/drawing/2014/main" id="{73263E7F-925F-CBDC-32D8-21CBB5915F92}"/>
                  </a:ext>
                </a:extLst>
              </p:cNvPr>
              <p:cNvSpPr/>
              <p:nvPr/>
            </p:nvSpPr>
            <p:spPr>
              <a:xfrm>
                <a:off x="8117794" y="5177666"/>
                <a:ext cx="284283" cy="21426"/>
              </a:xfrm>
              <a:custGeom>
                <a:avLst/>
                <a:gdLst>
                  <a:gd name="connsiteX0" fmla="*/ 261365 w 284283"/>
                  <a:gd name="connsiteY0" fmla="*/ 0 h 21426"/>
                  <a:gd name="connsiteX1" fmla="*/ 22931 w 284283"/>
                  <a:gd name="connsiteY1" fmla="*/ 0 h 21426"/>
                  <a:gd name="connsiteX2" fmla="*/ 10041 w 284283"/>
                  <a:gd name="connsiteY2" fmla="*/ 5069 h 21426"/>
                  <a:gd name="connsiteX3" fmla="*/ 1688 w 284283"/>
                  <a:gd name="connsiteY3" fmla="*/ 12097 h 21426"/>
                  <a:gd name="connsiteX4" fmla="*/ 3267 w 284283"/>
                  <a:gd name="connsiteY4" fmla="*/ 21426 h 21426"/>
                  <a:gd name="connsiteX5" fmla="*/ 281016 w 284283"/>
                  <a:gd name="connsiteY5" fmla="*/ 21426 h 21426"/>
                  <a:gd name="connsiteX6" fmla="*/ 282595 w 284283"/>
                  <a:gd name="connsiteY6" fmla="*/ 12097 h 21426"/>
                  <a:gd name="connsiteX7" fmla="*/ 274242 w 284283"/>
                  <a:gd name="connsiteY7" fmla="*/ 5069 h 21426"/>
                  <a:gd name="connsiteX8" fmla="*/ 261353 w 284283"/>
                  <a:gd name="connsiteY8" fmla="*/ 0 h 21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4283" h="21426">
                    <a:moveTo>
                      <a:pt x="261365" y="0"/>
                    </a:moveTo>
                    <a:lnTo>
                      <a:pt x="22931" y="0"/>
                    </a:lnTo>
                    <a:cubicBezTo>
                      <a:pt x="18419" y="0"/>
                      <a:pt x="13984" y="1744"/>
                      <a:pt x="10041" y="5069"/>
                    </a:cubicBezTo>
                    <a:lnTo>
                      <a:pt x="1688" y="12097"/>
                    </a:lnTo>
                    <a:cubicBezTo>
                      <a:pt x="-1256" y="14587"/>
                      <a:pt x="-106" y="21426"/>
                      <a:pt x="3267" y="21426"/>
                    </a:cubicBezTo>
                    <a:lnTo>
                      <a:pt x="281016" y="21426"/>
                    </a:lnTo>
                    <a:cubicBezTo>
                      <a:pt x="284390" y="21426"/>
                      <a:pt x="285540" y="14587"/>
                      <a:pt x="282595" y="12097"/>
                    </a:cubicBezTo>
                    <a:lnTo>
                      <a:pt x="274242" y="5069"/>
                    </a:lnTo>
                    <a:cubicBezTo>
                      <a:pt x="270299" y="1744"/>
                      <a:pt x="265864" y="0"/>
                      <a:pt x="261353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49" name="Grafik 5">
                <a:extLst>
                  <a:ext uri="{FF2B5EF4-FFF2-40B4-BE49-F238E27FC236}">
                    <a16:creationId xmlns:a16="http://schemas.microsoft.com/office/drawing/2014/main" id="{B336E34E-4355-C908-5E75-77AB88F471FF}"/>
                  </a:ext>
                </a:extLst>
              </p:cNvPr>
              <p:cNvGrpSpPr/>
              <p:nvPr/>
            </p:nvGrpSpPr>
            <p:grpSpPr>
              <a:xfrm>
                <a:off x="8165291" y="4693877"/>
                <a:ext cx="427881" cy="494723"/>
                <a:chOff x="8165291" y="4693877"/>
                <a:chExt cx="427881" cy="494723"/>
              </a:xfrm>
            </p:grpSpPr>
            <p:sp>
              <p:nvSpPr>
                <p:cNvPr id="350" name="Freihandform 349">
                  <a:extLst>
                    <a:ext uri="{FF2B5EF4-FFF2-40B4-BE49-F238E27FC236}">
                      <a16:creationId xmlns:a16="http://schemas.microsoft.com/office/drawing/2014/main" id="{433D41D2-309B-BC2D-73D7-05956221CBAD}"/>
                    </a:ext>
                  </a:extLst>
                </p:cNvPr>
                <p:cNvSpPr/>
                <p:nvPr/>
              </p:nvSpPr>
              <p:spPr>
                <a:xfrm>
                  <a:off x="8213552" y="4959283"/>
                  <a:ext cx="131879" cy="4753"/>
                </a:xfrm>
                <a:custGeom>
                  <a:avLst/>
                  <a:gdLst>
                    <a:gd name="connsiteX0" fmla="*/ 131879 w 131879"/>
                    <a:gd name="connsiteY0" fmla="*/ 4753 h 4753"/>
                    <a:gd name="connsiteX1" fmla="*/ 543 w 131879"/>
                    <a:gd name="connsiteY1" fmla="*/ 4753 h 4753"/>
                    <a:gd name="connsiteX2" fmla="*/ 0 w 131879"/>
                    <a:gd name="connsiteY2" fmla="*/ 0 h 4753"/>
                    <a:gd name="connsiteX3" fmla="*/ 131879 w 131879"/>
                    <a:gd name="connsiteY3" fmla="*/ 0 h 4753"/>
                    <a:gd name="connsiteX4" fmla="*/ 131879 w 131879"/>
                    <a:gd name="connsiteY4" fmla="*/ 4753 h 4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1879" h="4753">
                      <a:moveTo>
                        <a:pt x="131879" y="4753"/>
                      </a:moveTo>
                      <a:lnTo>
                        <a:pt x="543" y="4753"/>
                      </a:lnTo>
                      <a:lnTo>
                        <a:pt x="0" y="0"/>
                      </a:lnTo>
                      <a:lnTo>
                        <a:pt x="131879" y="0"/>
                      </a:lnTo>
                      <a:lnTo>
                        <a:pt x="131879" y="4753"/>
                      </a:lnTo>
                      <a:close/>
                    </a:path>
                  </a:pathLst>
                </a:custGeom>
                <a:solidFill>
                  <a:srgbClr val="0A8276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Freihandform 350">
                  <a:extLst>
                    <a:ext uri="{FF2B5EF4-FFF2-40B4-BE49-F238E27FC236}">
                      <a16:creationId xmlns:a16="http://schemas.microsoft.com/office/drawing/2014/main" id="{35D0824B-F51C-C695-044B-E6A9EC999ABE}"/>
                    </a:ext>
                  </a:extLst>
                </p:cNvPr>
                <p:cNvSpPr/>
                <p:nvPr/>
              </p:nvSpPr>
              <p:spPr>
                <a:xfrm>
                  <a:off x="8214045" y="4963038"/>
                  <a:ext cx="131386" cy="92075"/>
                </a:xfrm>
                <a:custGeom>
                  <a:avLst/>
                  <a:gdLst>
                    <a:gd name="connsiteX0" fmla="*/ 129074 w 131386"/>
                    <a:gd name="connsiteY0" fmla="*/ 92076 h 92075"/>
                    <a:gd name="connsiteX1" fmla="*/ 5775 w 131386"/>
                    <a:gd name="connsiteY1" fmla="*/ 92076 h 92075"/>
                    <a:gd name="connsiteX2" fmla="*/ 0 w 131386"/>
                    <a:gd name="connsiteY2" fmla="*/ 0 h 92075"/>
                    <a:gd name="connsiteX3" fmla="*/ 131386 w 131386"/>
                    <a:gd name="connsiteY3" fmla="*/ 0 h 92075"/>
                    <a:gd name="connsiteX4" fmla="*/ 129074 w 131386"/>
                    <a:gd name="connsiteY4" fmla="*/ 92076 h 920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1386" h="92075">
                      <a:moveTo>
                        <a:pt x="129074" y="92076"/>
                      </a:moveTo>
                      <a:lnTo>
                        <a:pt x="5775" y="92076"/>
                      </a:lnTo>
                      <a:lnTo>
                        <a:pt x="0" y="0"/>
                      </a:lnTo>
                      <a:lnTo>
                        <a:pt x="131386" y="0"/>
                      </a:lnTo>
                      <a:lnTo>
                        <a:pt x="129074" y="92076"/>
                      </a:ln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2" name="Freihandform 351">
                  <a:extLst>
                    <a:ext uri="{FF2B5EF4-FFF2-40B4-BE49-F238E27FC236}">
                      <a16:creationId xmlns:a16="http://schemas.microsoft.com/office/drawing/2014/main" id="{CCFBFA01-339F-A94B-2880-C3212DA34608}"/>
                    </a:ext>
                  </a:extLst>
                </p:cNvPr>
                <p:cNvSpPr/>
                <p:nvPr/>
              </p:nvSpPr>
              <p:spPr>
                <a:xfrm>
                  <a:off x="8196794" y="5059879"/>
                  <a:ext cx="146905" cy="128721"/>
                </a:xfrm>
                <a:custGeom>
                  <a:avLst/>
                  <a:gdLst>
                    <a:gd name="connsiteX0" fmla="*/ 126320 w 146905"/>
                    <a:gd name="connsiteY0" fmla="*/ 17090 h 128721"/>
                    <a:gd name="connsiteX1" fmla="*/ 146905 w 146905"/>
                    <a:gd name="connsiteY1" fmla="*/ 6168 h 128721"/>
                    <a:gd name="connsiteX2" fmla="*/ 146905 w 146905"/>
                    <a:gd name="connsiteY2" fmla="*/ 0 h 128721"/>
                    <a:gd name="connsiteX3" fmla="*/ 23025 w 146905"/>
                    <a:gd name="connsiteY3" fmla="*/ 0 h 128721"/>
                    <a:gd name="connsiteX4" fmla="*/ 23025 w 146905"/>
                    <a:gd name="connsiteY4" fmla="*/ 81470 h 128721"/>
                    <a:gd name="connsiteX5" fmla="*/ 0 w 146905"/>
                    <a:gd name="connsiteY5" fmla="*/ 104502 h 128721"/>
                    <a:gd name="connsiteX6" fmla="*/ 0 w 146905"/>
                    <a:gd name="connsiteY6" fmla="*/ 104502 h 128721"/>
                    <a:gd name="connsiteX7" fmla="*/ 0 w 146905"/>
                    <a:gd name="connsiteY7" fmla="*/ 128721 h 128721"/>
                    <a:gd name="connsiteX8" fmla="*/ 23745 w 146905"/>
                    <a:gd name="connsiteY8" fmla="*/ 128721 h 128721"/>
                    <a:gd name="connsiteX9" fmla="*/ 24959 w 146905"/>
                    <a:gd name="connsiteY9" fmla="*/ 123968 h 128721"/>
                    <a:gd name="connsiteX10" fmla="*/ 109424 w 146905"/>
                    <a:gd name="connsiteY10" fmla="*/ 123968 h 128721"/>
                    <a:gd name="connsiteX11" fmla="*/ 110637 w 146905"/>
                    <a:gd name="connsiteY11" fmla="*/ 128721 h 128721"/>
                    <a:gd name="connsiteX12" fmla="*/ 134382 w 146905"/>
                    <a:gd name="connsiteY12" fmla="*/ 128721 h 128721"/>
                    <a:gd name="connsiteX13" fmla="*/ 134382 w 146905"/>
                    <a:gd name="connsiteY13" fmla="*/ 104502 h 128721"/>
                    <a:gd name="connsiteX14" fmla="*/ 134382 w 146905"/>
                    <a:gd name="connsiteY14" fmla="*/ 104502 h 128721"/>
                    <a:gd name="connsiteX15" fmla="*/ 126307 w 146905"/>
                    <a:gd name="connsiteY15" fmla="*/ 78739 h 128721"/>
                    <a:gd name="connsiteX16" fmla="*/ 126307 w 146905"/>
                    <a:gd name="connsiteY16" fmla="*/ 17103 h 1287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46905" h="128721">
                      <a:moveTo>
                        <a:pt x="126320" y="17090"/>
                      </a:moveTo>
                      <a:lnTo>
                        <a:pt x="146905" y="6168"/>
                      </a:lnTo>
                      <a:lnTo>
                        <a:pt x="146905" y="0"/>
                      </a:lnTo>
                      <a:lnTo>
                        <a:pt x="23025" y="0"/>
                      </a:lnTo>
                      <a:lnTo>
                        <a:pt x="23025" y="81470"/>
                      </a:lnTo>
                      <a:cubicBezTo>
                        <a:pt x="23025" y="94187"/>
                        <a:pt x="12713" y="104502"/>
                        <a:pt x="0" y="104502"/>
                      </a:cubicBezTo>
                      <a:lnTo>
                        <a:pt x="0" y="104502"/>
                      </a:lnTo>
                      <a:lnTo>
                        <a:pt x="0" y="128721"/>
                      </a:lnTo>
                      <a:lnTo>
                        <a:pt x="23745" y="128721"/>
                      </a:lnTo>
                      <a:lnTo>
                        <a:pt x="24959" y="123968"/>
                      </a:lnTo>
                      <a:lnTo>
                        <a:pt x="109424" y="123968"/>
                      </a:lnTo>
                      <a:lnTo>
                        <a:pt x="110637" y="128721"/>
                      </a:lnTo>
                      <a:lnTo>
                        <a:pt x="134382" y="128721"/>
                      </a:lnTo>
                      <a:lnTo>
                        <a:pt x="134382" y="104502"/>
                      </a:lnTo>
                      <a:lnTo>
                        <a:pt x="134382" y="104502"/>
                      </a:lnTo>
                      <a:cubicBezTo>
                        <a:pt x="129125" y="96942"/>
                        <a:pt x="126307" y="87955"/>
                        <a:pt x="126307" y="78739"/>
                      </a:cubicBezTo>
                      <a:lnTo>
                        <a:pt x="126307" y="17103"/>
                      </a:ln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3" name="Freihandform 352">
                  <a:extLst>
                    <a:ext uri="{FF2B5EF4-FFF2-40B4-BE49-F238E27FC236}">
                      <a16:creationId xmlns:a16="http://schemas.microsoft.com/office/drawing/2014/main" id="{138B1D3A-68ED-3363-0AB5-F5E503C38A69}"/>
                    </a:ext>
                  </a:extLst>
                </p:cNvPr>
                <p:cNvSpPr/>
                <p:nvPr/>
              </p:nvSpPr>
              <p:spPr>
                <a:xfrm>
                  <a:off x="8222852" y="5055113"/>
                  <a:ext cx="115451" cy="4752"/>
                </a:xfrm>
                <a:custGeom>
                  <a:avLst/>
                  <a:gdLst>
                    <a:gd name="connsiteX0" fmla="*/ 0 w 115451"/>
                    <a:gd name="connsiteY0" fmla="*/ 0 h 4752"/>
                    <a:gd name="connsiteX1" fmla="*/ 115451 w 115451"/>
                    <a:gd name="connsiteY1" fmla="*/ 0 h 4752"/>
                    <a:gd name="connsiteX2" fmla="*/ 115451 w 115451"/>
                    <a:gd name="connsiteY2" fmla="*/ 4753 h 4752"/>
                    <a:gd name="connsiteX3" fmla="*/ 0 w 115451"/>
                    <a:gd name="connsiteY3" fmla="*/ 4753 h 47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5451" h="4752">
                      <a:moveTo>
                        <a:pt x="0" y="0"/>
                      </a:moveTo>
                      <a:lnTo>
                        <a:pt x="115451" y="0"/>
                      </a:lnTo>
                      <a:lnTo>
                        <a:pt x="115451" y="4753"/>
                      </a:lnTo>
                      <a:lnTo>
                        <a:pt x="0" y="4753"/>
                      </a:lnTo>
                      <a:close/>
                    </a:path>
                  </a:pathLst>
                </a:custGeom>
                <a:solidFill>
                  <a:srgbClr val="008874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Freihandform 353">
                  <a:extLst>
                    <a:ext uri="{FF2B5EF4-FFF2-40B4-BE49-F238E27FC236}">
                      <a16:creationId xmlns:a16="http://schemas.microsoft.com/office/drawing/2014/main" id="{891B8DE3-2A52-D857-16C3-C1B9F68BEDCA}"/>
                    </a:ext>
                  </a:extLst>
                </p:cNvPr>
                <p:cNvSpPr/>
                <p:nvPr/>
              </p:nvSpPr>
              <p:spPr>
                <a:xfrm>
                  <a:off x="8208939" y="4874033"/>
                  <a:ext cx="136492" cy="85249"/>
                </a:xfrm>
                <a:custGeom>
                  <a:avLst/>
                  <a:gdLst>
                    <a:gd name="connsiteX0" fmla="*/ 119269 w 136492"/>
                    <a:gd name="connsiteY0" fmla="*/ 39136 h 85249"/>
                    <a:gd name="connsiteX1" fmla="*/ 119255 w 136492"/>
                    <a:gd name="connsiteY1" fmla="*/ 39136 h 85249"/>
                    <a:gd name="connsiteX2" fmla="*/ 61770 w 136492"/>
                    <a:gd name="connsiteY2" fmla="*/ 0 h 85249"/>
                    <a:gd name="connsiteX3" fmla="*/ 4285 w 136492"/>
                    <a:gd name="connsiteY3" fmla="*/ 39136 h 85249"/>
                    <a:gd name="connsiteX4" fmla="*/ 0 w 136492"/>
                    <a:gd name="connsiteY4" fmla="*/ 61788 h 85249"/>
                    <a:gd name="connsiteX5" fmla="*/ 4613 w 136492"/>
                    <a:gd name="connsiteY5" fmla="*/ 85250 h 85249"/>
                    <a:gd name="connsiteX6" fmla="*/ 136492 w 136492"/>
                    <a:gd name="connsiteY6" fmla="*/ 85250 h 85249"/>
                    <a:gd name="connsiteX7" fmla="*/ 119269 w 136492"/>
                    <a:gd name="connsiteY7" fmla="*/ 39123 h 852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6492" h="85249">
                      <a:moveTo>
                        <a:pt x="119269" y="39136"/>
                      </a:moveTo>
                      <a:lnTo>
                        <a:pt x="119255" y="39136"/>
                      </a:lnTo>
                      <a:cubicBezTo>
                        <a:pt x="110220" y="16218"/>
                        <a:pt x="87890" y="0"/>
                        <a:pt x="61770" y="0"/>
                      </a:cubicBezTo>
                      <a:cubicBezTo>
                        <a:pt x="35650" y="0"/>
                        <a:pt x="13320" y="16218"/>
                        <a:pt x="4285" y="39136"/>
                      </a:cubicBezTo>
                      <a:cubicBezTo>
                        <a:pt x="1517" y="46152"/>
                        <a:pt x="0" y="53799"/>
                        <a:pt x="0" y="61788"/>
                      </a:cubicBezTo>
                      <a:cubicBezTo>
                        <a:pt x="0" y="70094"/>
                        <a:pt x="1643" y="78020"/>
                        <a:pt x="4613" y="85250"/>
                      </a:cubicBezTo>
                      <a:lnTo>
                        <a:pt x="136492" y="85250"/>
                      </a:lnTo>
                      <a:lnTo>
                        <a:pt x="119269" y="39123"/>
                      </a:ln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55" name="Grafik 5">
                  <a:extLst>
                    <a:ext uri="{FF2B5EF4-FFF2-40B4-BE49-F238E27FC236}">
                      <a16:creationId xmlns:a16="http://schemas.microsoft.com/office/drawing/2014/main" id="{43A34D76-249F-6AE3-DFEF-56993E2C1687}"/>
                    </a:ext>
                  </a:extLst>
                </p:cNvPr>
                <p:cNvGrpSpPr/>
                <p:nvPr/>
              </p:nvGrpSpPr>
              <p:grpSpPr>
                <a:xfrm>
                  <a:off x="8204971" y="4865589"/>
                  <a:ext cx="107250" cy="107282"/>
                  <a:chOff x="8204971" y="4865589"/>
                  <a:chExt cx="107250" cy="107282"/>
                </a:xfrm>
              </p:grpSpPr>
              <p:sp>
                <p:nvSpPr>
                  <p:cNvPr id="356" name="Freihandform 355">
                    <a:extLst>
                      <a:ext uri="{FF2B5EF4-FFF2-40B4-BE49-F238E27FC236}">
                        <a16:creationId xmlns:a16="http://schemas.microsoft.com/office/drawing/2014/main" id="{0C70DFCE-A2AF-FA6D-1ABF-801669605846}"/>
                      </a:ext>
                    </a:extLst>
                  </p:cNvPr>
                  <p:cNvSpPr/>
                  <p:nvPr/>
                </p:nvSpPr>
                <p:spPr>
                  <a:xfrm>
                    <a:off x="8204971" y="4865589"/>
                    <a:ext cx="76896" cy="67552"/>
                  </a:xfrm>
                  <a:custGeom>
                    <a:avLst/>
                    <a:gdLst>
                      <a:gd name="connsiteX0" fmla="*/ 65737 w 76896"/>
                      <a:gd name="connsiteY0" fmla="*/ 8444 h 67552"/>
                      <a:gd name="connsiteX1" fmla="*/ 76896 w 76896"/>
                      <a:gd name="connsiteY1" fmla="*/ 9456 h 67552"/>
                      <a:gd name="connsiteX2" fmla="*/ 48248 w 76896"/>
                      <a:gd name="connsiteY2" fmla="*/ 0 h 67552"/>
                      <a:gd name="connsiteX3" fmla="*/ 0 w 76896"/>
                      <a:gd name="connsiteY3" fmla="*/ 48263 h 67552"/>
                      <a:gd name="connsiteX4" fmla="*/ 4031 w 76896"/>
                      <a:gd name="connsiteY4" fmla="*/ 67553 h 67552"/>
                      <a:gd name="connsiteX5" fmla="*/ 8252 w 76896"/>
                      <a:gd name="connsiteY5" fmla="*/ 47580 h 67552"/>
                      <a:gd name="connsiteX6" fmla="*/ 65737 w 76896"/>
                      <a:gd name="connsiteY6" fmla="*/ 8444 h 675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896" h="67552">
                        <a:moveTo>
                          <a:pt x="65737" y="8444"/>
                        </a:moveTo>
                        <a:cubicBezTo>
                          <a:pt x="69541" y="8444"/>
                          <a:pt x="73269" y="8798"/>
                          <a:pt x="76896" y="9456"/>
                        </a:cubicBezTo>
                        <a:cubicBezTo>
                          <a:pt x="68884" y="3514"/>
                          <a:pt x="58964" y="0"/>
                          <a:pt x="48248" y="0"/>
                        </a:cubicBezTo>
                        <a:cubicBezTo>
                          <a:pt x="21647" y="0"/>
                          <a:pt x="0" y="21654"/>
                          <a:pt x="0" y="48263"/>
                        </a:cubicBezTo>
                        <a:cubicBezTo>
                          <a:pt x="0" y="55114"/>
                          <a:pt x="1441" y="61637"/>
                          <a:pt x="4031" y="67553"/>
                        </a:cubicBezTo>
                        <a:cubicBezTo>
                          <a:pt x="4335" y="60525"/>
                          <a:pt x="5800" y="53799"/>
                          <a:pt x="8252" y="47580"/>
                        </a:cubicBezTo>
                        <a:cubicBezTo>
                          <a:pt x="17287" y="24662"/>
                          <a:pt x="39617" y="8444"/>
                          <a:pt x="65737" y="8444"/>
                        </a:cubicBezTo>
                        <a:close/>
                      </a:path>
                    </a:pathLst>
                  </a:custGeom>
                  <a:noFill/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57" name="Freihandform 356">
                    <a:extLst>
                      <a:ext uri="{FF2B5EF4-FFF2-40B4-BE49-F238E27FC236}">
                        <a16:creationId xmlns:a16="http://schemas.microsoft.com/office/drawing/2014/main" id="{29FA0355-C4AF-D2ED-1333-83A3A47DDA53}"/>
                      </a:ext>
                    </a:extLst>
                  </p:cNvPr>
                  <p:cNvSpPr/>
                  <p:nvPr/>
                </p:nvSpPr>
                <p:spPr>
                  <a:xfrm>
                    <a:off x="8215599" y="4959296"/>
                    <a:ext cx="75214" cy="3754"/>
                  </a:xfrm>
                  <a:custGeom>
                    <a:avLst/>
                    <a:gdLst>
                      <a:gd name="connsiteX0" fmla="*/ 37608 w 75214"/>
                      <a:gd name="connsiteY0" fmla="*/ 2819 h 3754"/>
                      <a:gd name="connsiteX1" fmla="*/ 21357 w 75214"/>
                      <a:gd name="connsiteY1" fmla="*/ 0 h 3754"/>
                      <a:gd name="connsiteX2" fmla="*/ 0 w 75214"/>
                      <a:gd name="connsiteY2" fmla="*/ 0 h 3754"/>
                      <a:gd name="connsiteX3" fmla="*/ 5042 w 75214"/>
                      <a:gd name="connsiteY3" fmla="*/ 3754 h 3754"/>
                      <a:gd name="connsiteX4" fmla="*/ 70173 w 75214"/>
                      <a:gd name="connsiteY4" fmla="*/ 3754 h 3754"/>
                      <a:gd name="connsiteX5" fmla="*/ 75215 w 75214"/>
                      <a:gd name="connsiteY5" fmla="*/ 0 h 3754"/>
                      <a:gd name="connsiteX6" fmla="*/ 53858 w 75214"/>
                      <a:gd name="connsiteY6" fmla="*/ 0 h 3754"/>
                      <a:gd name="connsiteX7" fmla="*/ 37608 w 75214"/>
                      <a:gd name="connsiteY7" fmla="*/ 2819 h 37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5214" h="3754">
                        <a:moveTo>
                          <a:pt x="37608" y="2819"/>
                        </a:moveTo>
                        <a:cubicBezTo>
                          <a:pt x="31908" y="2819"/>
                          <a:pt x="26436" y="1820"/>
                          <a:pt x="21357" y="0"/>
                        </a:cubicBezTo>
                        <a:lnTo>
                          <a:pt x="0" y="0"/>
                        </a:lnTo>
                        <a:cubicBezTo>
                          <a:pt x="1605" y="1340"/>
                          <a:pt x="3298" y="2591"/>
                          <a:pt x="5042" y="3754"/>
                        </a:cubicBezTo>
                        <a:lnTo>
                          <a:pt x="70173" y="3754"/>
                        </a:lnTo>
                        <a:cubicBezTo>
                          <a:pt x="71917" y="2591"/>
                          <a:pt x="73611" y="1340"/>
                          <a:pt x="75215" y="0"/>
                        </a:cubicBezTo>
                        <a:lnTo>
                          <a:pt x="53858" y="0"/>
                        </a:lnTo>
                        <a:cubicBezTo>
                          <a:pt x="48779" y="1820"/>
                          <a:pt x="43307" y="2819"/>
                          <a:pt x="37608" y="2819"/>
                        </a:cubicBezTo>
                        <a:close/>
                      </a:path>
                    </a:pathLst>
                  </a:custGeom>
                  <a:solidFill>
                    <a:srgbClr val="005C4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58" name="Freihandform 357">
                    <a:extLst>
                      <a:ext uri="{FF2B5EF4-FFF2-40B4-BE49-F238E27FC236}">
                        <a16:creationId xmlns:a16="http://schemas.microsoft.com/office/drawing/2014/main" id="{05FEE982-8304-4C32-8EB4-5CFFBFCF20D8}"/>
                      </a:ext>
                    </a:extLst>
                  </p:cNvPr>
                  <p:cNvSpPr/>
                  <p:nvPr/>
                </p:nvSpPr>
                <p:spPr>
                  <a:xfrm>
                    <a:off x="8220641" y="4963038"/>
                    <a:ext cx="65130" cy="9834"/>
                  </a:xfrm>
                  <a:custGeom>
                    <a:avLst/>
                    <a:gdLst>
                      <a:gd name="connsiteX0" fmla="*/ 0 w 65130"/>
                      <a:gd name="connsiteY0" fmla="*/ 0 h 9834"/>
                      <a:gd name="connsiteX1" fmla="*/ 1554 w 65130"/>
                      <a:gd name="connsiteY1" fmla="*/ 999 h 9834"/>
                      <a:gd name="connsiteX2" fmla="*/ 32566 w 65130"/>
                      <a:gd name="connsiteY2" fmla="*/ 9834 h 9834"/>
                      <a:gd name="connsiteX3" fmla="*/ 63577 w 65130"/>
                      <a:gd name="connsiteY3" fmla="*/ 999 h 9834"/>
                      <a:gd name="connsiteX4" fmla="*/ 65131 w 65130"/>
                      <a:gd name="connsiteY4" fmla="*/ 0 h 9834"/>
                      <a:gd name="connsiteX5" fmla="*/ 0 w 65130"/>
                      <a:gd name="connsiteY5" fmla="*/ 0 h 98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5130" h="9834">
                        <a:moveTo>
                          <a:pt x="0" y="0"/>
                        </a:moveTo>
                        <a:cubicBezTo>
                          <a:pt x="518" y="341"/>
                          <a:pt x="1037" y="670"/>
                          <a:pt x="1554" y="999"/>
                        </a:cubicBezTo>
                        <a:cubicBezTo>
                          <a:pt x="10577" y="6599"/>
                          <a:pt x="21192" y="9834"/>
                          <a:pt x="32566" y="9834"/>
                        </a:cubicBezTo>
                        <a:cubicBezTo>
                          <a:pt x="43939" y="9834"/>
                          <a:pt x="54554" y="6599"/>
                          <a:pt x="63577" y="999"/>
                        </a:cubicBezTo>
                        <a:cubicBezTo>
                          <a:pt x="64107" y="670"/>
                          <a:pt x="64626" y="341"/>
                          <a:pt x="65131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59" name="Freihandform 358">
                    <a:extLst>
                      <a:ext uri="{FF2B5EF4-FFF2-40B4-BE49-F238E27FC236}">
                        <a16:creationId xmlns:a16="http://schemas.microsoft.com/office/drawing/2014/main" id="{C150F4F5-CF71-F483-9109-DB38F2596624}"/>
                      </a:ext>
                    </a:extLst>
                  </p:cNvPr>
                  <p:cNvSpPr/>
                  <p:nvPr/>
                </p:nvSpPr>
                <p:spPr>
                  <a:xfrm>
                    <a:off x="8212490" y="4956515"/>
                    <a:ext cx="3109" cy="2768"/>
                  </a:xfrm>
                  <a:custGeom>
                    <a:avLst/>
                    <a:gdLst>
                      <a:gd name="connsiteX0" fmla="*/ 0 w 3109"/>
                      <a:gd name="connsiteY0" fmla="*/ 0 h 2768"/>
                      <a:gd name="connsiteX1" fmla="*/ 1062 w 3109"/>
                      <a:gd name="connsiteY1" fmla="*/ 2768 h 2768"/>
                      <a:gd name="connsiteX2" fmla="*/ 3109 w 3109"/>
                      <a:gd name="connsiteY2" fmla="*/ 2768 h 2768"/>
                      <a:gd name="connsiteX3" fmla="*/ 0 w 3109"/>
                      <a:gd name="connsiteY3" fmla="*/ 0 h 27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09" h="2768">
                        <a:moveTo>
                          <a:pt x="0" y="0"/>
                        </a:moveTo>
                        <a:cubicBezTo>
                          <a:pt x="329" y="935"/>
                          <a:pt x="683" y="1858"/>
                          <a:pt x="1062" y="2768"/>
                        </a:cubicBezTo>
                        <a:lnTo>
                          <a:pt x="3109" y="2768"/>
                        </a:lnTo>
                        <a:cubicBezTo>
                          <a:pt x="2035" y="1883"/>
                          <a:pt x="999" y="96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B8DEDA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60" name="Freihandform 359">
                    <a:extLst>
                      <a:ext uri="{FF2B5EF4-FFF2-40B4-BE49-F238E27FC236}">
                        <a16:creationId xmlns:a16="http://schemas.microsoft.com/office/drawing/2014/main" id="{9C810B9A-3D00-8666-1A37-1D479F7B2637}"/>
                      </a:ext>
                    </a:extLst>
                  </p:cNvPr>
                  <p:cNvSpPr/>
                  <p:nvPr/>
                </p:nvSpPr>
                <p:spPr>
                  <a:xfrm>
                    <a:off x="8269470" y="4875045"/>
                    <a:ext cx="42750" cy="84238"/>
                  </a:xfrm>
                  <a:custGeom>
                    <a:avLst/>
                    <a:gdLst>
                      <a:gd name="connsiteX0" fmla="*/ 31984 w 42750"/>
                      <a:gd name="connsiteY0" fmla="*/ 38807 h 84238"/>
                      <a:gd name="connsiteX1" fmla="*/ 0 w 42750"/>
                      <a:gd name="connsiteY1" fmla="*/ 84238 h 84238"/>
                      <a:gd name="connsiteX2" fmla="*/ 21357 w 42750"/>
                      <a:gd name="connsiteY2" fmla="*/ 84238 h 84238"/>
                      <a:gd name="connsiteX3" fmla="*/ 42751 w 42750"/>
                      <a:gd name="connsiteY3" fmla="*/ 38807 h 84238"/>
                      <a:gd name="connsiteX4" fmla="*/ 34461 w 42750"/>
                      <a:gd name="connsiteY4" fmla="*/ 8672 h 84238"/>
                      <a:gd name="connsiteX5" fmla="*/ 12397 w 42750"/>
                      <a:gd name="connsiteY5" fmla="*/ 0 h 84238"/>
                      <a:gd name="connsiteX6" fmla="*/ 31997 w 42750"/>
                      <a:gd name="connsiteY6" fmla="*/ 38807 h 842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2750" h="84238">
                        <a:moveTo>
                          <a:pt x="31984" y="38807"/>
                        </a:moveTo>
                        <a:cubicBezTo>
                          <a:pt x="31984" y="59715"/>
                          <a:pt x="18627" y="77552"/>
                          <a:pt x="0" y="84238"/>
                        </a:cubicBezTo>
                        <a:lnTo>
                          <a:pt x="21357" y="84238"/>
                        </a:lnTo>
                        <a:cubicBezTo>
                          <a:pt x="34410" y="73405"/>
                          <a:pt x="42751" y="57061"/>
                          <a:pt x="42751" y="38807"/>
                        </a:cubicBezTo>
                        <a:cubicBezTo>
                          <a:pt x="42751" y="27810"/>
                          <a:pt x="39718" y="17495"/>
                          <a:pt x="34461" y="8672"/>
                        </a:cubicBezTo>
                        <a:cubicBezTo>
                          <a:pt x="27852" y="4449"/>
                          <a:pt x="20396" y="1454"/>
                          <a:pt x="12397" y="0"/>
                        </a:cubicBezTo>
                        <a:cubicBezTo>
                          <a:pt x="24276" y="8798"/>
                          <a:pt x="31997" y="22918"/>
                          <a:pt x="31997" y="38807"/>
                        </a:cubicBez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61" name="Freihandform 360">
                    <a:extLst>
                      <a:ext uri="{FF2B5EF4-FFF2-40B4-BE49-F238E27FC236}">
                        <a16:creationId xmlns:a16="http://schemas.microsoft.com/office/drawing/2014/main" id="{D67A8330-660F-68C9-D415-75EA829EC0D4}"/>
                      </a:ext>
                    </a:extLst>
                  </p:cNvPr>
                  <p:cNvSpPr/>
                  <p:nvPr/>
                </p:nvSpPr>
                <p:spPr>
                  <a:xfrm>
                    <a:off x="8208926" y="4933142"/>
                    <a:ext cx="28029" cy="26141"/>
                  </a:xfrm>
                  <a:custGeom>
                    <a:avLst/>
                    <a:gdLst>
                      <a:gd name="connsiteX0" fmla="*/ 28029 w 28029"/>
                      <a:gd name="connsiteY0" fmla="*/ 26141 h 26141"/>
                      <a:gd name="connsiteX1" fmla="*/ 63 w 28029"/>
                      <a:gd name="connsiteY1" fmla="*/ 0 h 26141"/>
                      <a:gd name="connsiteX2" fmla="*/ 0 w 28029"/>
                      <a:gd name="connsiteY2" fmla="*/ 2680 h 26141"/>
                      <a:gd name="connsiteX3" fmla="*/ 3551 w 28029"/>
                      <a:gd name="connsiteY3" fmla="*/ 23373 h 26141"/>
                      <a:gd name="connsiteX4" fmla="*/ 6659 w 28029"/>
                      <a:gd name="connsiteY4" fmla="*/ 26141 h 26141"/>
                      <a:gd name="connsiteX5" fmla="*/ 28016 w 28029"/>
                      <a:gd name="connsiteY5" fmla="*/ 26141 h 261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8029" h="26141">
                        <a:moveTo>
                          <a:pt x="28029" y="26141"/>
                        </a:moveTo>
                        <a:cubicBezTo>
                          <a:pt x="15505" y="21641"/>
                          <a:pt x="5371" y="12110"/>
                          <a:pt x="63" y="0"/>
                        </a:cubicBezTo>
                        <a:cubicBezTo>
                          <a:pt x="25" y="885"/>
                          <a:pt x="0" y="1782"/>
                          <a:pt x="0" y="2680"/>
                        </a:cubicBezTo>
                        <a:cubicBezTo>
                          <a:pt x="0" y="9935"/>
                          <a:pt x="1251" y="16913"/>
                          <a:pt x="3551" y="23373"/>
                        </a:cubicBezTo>
                        <a:cubicBezTo>
                          <a:pt x="4549" y="24333"/>
                          <a:pt x="5586" y="25256"/>
                          <a:pt x="6659" y="26141"/>
                        </a:cubicBezTo>
                        <a:lnTo>
                          <a:pt x="28016" y="26141"/>
                        </a:ln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2" name="Freihandform 361">
                  <a:extLst>
                    <a:ext uri="{FF2B5EF4-FFF2-40B4-BE49-F238E27FC236}">
                      <a16:creationId xmlns:a16="http://schemas.microsoft.com/office/drawing/2014/main" id="{62FD4961-268C-F669-6E59-5F9A504D6D66}"/>
                    </a:ext>
                  </a:extLst>
                </p:cNvPr>
                <p:cNvSpPr/>
                <p:nvPr/>
              </p:nvSpPr>
              <p:spPr>
                <a:xfrm>
                  <a:off x="8323114" y="5125725"/>
                  <a:ext cx="9174" cy="10087"/>
                </a:xfrm>
                <a:custGeom>
                  <a:avLst/>
                  <a:gdLst>
                    <a:gd name="connsiteX0" fmla="*/ 0 w 9174"/>
                    <a:gd name="connsiteY0" fmla="*/ 0 h 10087"/>
                    <a:gd name="connsiteX1" fmla="*/ 9175 w 9174"/>
                    <a:gd name="connsiteY1" fmla="*/ 0 h 10087"/>
                    <a:gd name="connsiteX2" fmla="*/ 9175 w 9174"/>
                    <a:gd name="connsiteY2" fmla="*/ 10087 h 10087"/>
                    <a:gd name="connsiteX3" fmla="*/ 0 w 9174"/>
                    <a:gd name="connsiteY3" fmla="*/ 10087 h 10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74" h="10087">
                      <a:moveTo>
                        <a:pt x="0" y="0"/>
                      </a:moveTo>
                      <a:lnTo>
                        <a:pt x="9175" y="0"/>
                      </a:lnTo>
                      <a:lnTo>
                        <a:pt x="9175" y="10087"/>
                      </a:lnTo>
                      <a:lnTo>
                        <a:pt x="0" y="10087"/>
                      </a:ln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3" name="Freihandform 362">
                  <a:extLst>
                    <a:ext uri="{FF2B5EF4-FFF2-40B4-BE49-F238E27FC236}">
                      <a16:creationId xmlns:a16="http://schemas.microsoft.com/office/drawing/2014/main" id="{07F71A81-6434-F4DC-AD20-6475885093F7}"/>
                    </a:ext>
                  </a:extLst>
                </p:cNvPr>
                <p:cNvSpPr/>
                <p:nvPr/>
              </p:nvSpPr>
              <p:spPr>
                <a:xfrm>
                  <a:off x="8323114" y="5093390"/>
                  <a:ext cx="6786" cy="16622"/>
                </a:xfrm>
                <a:custGeom>
                  <a:avLst/>
                  <a:gdLst>
                    <a:gd name="connsiteX0" fmla="*/ 0 w 6786"/>
                    <a:gd name="connsiteY0" fmla="*/ 0 h 16622"/>
                    <a:gd name="connsiteX1" fmla="*/ 6786 w 6786"/>
                    <a:gd name="connsiteY1" fmla="*/ 0 h 16622"/>
                    <a:gd name="connsiteX2" fmla="*/ 6786 w 6786"/>
                    <a:gd name="connsiteY2" fmla="*/ 16623 h 16622"/>
                    <a:gd name="connsiteX3" fmla="*/ 0 w 6786"/>
                    <a:gd name="connsiteY3" fmla="*/ 16623 h 166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86" h="16622">
                      <a:moveTo>
                        <a:pt x="0" y="0"/>
                      </a:moveTo>
                      <a:lnTo>
                        <a:pt x="6786" y="0"/>
                      </a:lnTo>
                      <a:lnTo>
                        <a:pt x="6786" y="16623"/>
                      </a:lnTo>
                      <a:lnTo>
                        <a:pt x="0" y="16623"/>
                      </a:lnTo>
                      <a:close/>
                    </a:path>
                  </a:pathLst>
                </a:custGeom>
                <a:solidFill>
                  <a:srgbClr val="008874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4" name="Freihandform 363">
                  <a:extLst>
                    <a:ext uri="{FF2B5EF4-FFF2-40B4-BE49-F238E27FC236}">
                      <a16:creationId xmlns:a16="http://schemas.microsoft.com/office/drawing/2014/main" id="{D7C3EB67-F10A-8011-BC8C-6AEC2D51C719}"/>
                    </a:ext>
                  </a:extLst>
                </p:cNvPr>
                <p:cNvSpPr/>
                <p:nvPr/>
              </p:nvSpPr>
              <p:spPr>
                <a:xfrm>
                  <a:off x="8329888" y="5096133"/>
                  <a:ext cx="6786" cy="11149"/>
                </a:xfrm>
                <a:custGeom>
                  <a:avLst/>
                  <a:gdLst>
                    <a:gd name="connsiteX0" fmla="*/ 0 w 6786"/>
                    <a:gd name="connsiteY0" fmla="*/ 0 h 11149"/>
                    <a:gd name="connsiteX1" fmla="*/ 6786 w 6786"/>
                    <a:gd name="connsiteY1" fmla="*/ 0 h 11149"/>
                    <a:gd name="connsiteX2" fmla="*/ 6786 w 6786"/>
                    <a:gd name="connsiteY2" fmla="*/ 11149 h 11149"/>
                    <a:gd name="connsiteX3" fmla="*/ 0 w 6786"/>
                    <a:gd name="connsiteY3" fmla="*/ 11149 h 11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86" h="11149">
                      <a:moveTo>
                        <a:pt x="0" y="0"/>
                      </a:moveTo>
                      <a:lnTo>
                        <a:pt x="6786" y="0"/>
                      </a:lnTo>
                      <a:lnTo>
                        <a:pt x="6786" y="11149"/>
                      </a:lnTo>
                      <a:lnTo>
                        <a:pt x="0" y="11149"/>
                      </a:ln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5" name="Freihandform 364">
                  <a:extLst>
                    <a:ext uri="{FF2B5EF4-FFF2-40B4-BE49-F238E27FC236}">
                      <a16:creationId xmlns:a16="http://schemas.microsoft.com/office/drawing/2014/main" id="{C580633B-3EA6-F060-4366-6121F9CDA47B}"/>
                    </a:ext>
                  </a:extLst>
                </p:cNvPr>
                <p:cNvSpPr/>
                <p:nvPr/>
              </p:nvSpPr>
              <p:spPr>
                <a:xfrm>
                  <a:off x="8165316" y="4733518"/>
                  <a:ext cx="141521" cy="180334"/>
                </a:xfrm>
                <a:custGeom>
                  <a:avLst/>
                  <a:gdLst>
                    <a:gd name="connsiteX0" fmla="*/ 79259 w 141521"/>
                    <a:gd name="connsiteY0" fmla="*/ 0 h 180334"/>
                    <a:gd name="connsiteX1" fmla="*/ 0 w 141521"/>
                    <a:gd name="connsiteY1" fmla="*/ 0 h 180334"/>
                    <a:gd name="connsiteX2" fmla="*/ 34271 w 141521"/>
                    <a:gd name="connsiteY2" fmla="*/ 180334 h 180334"/>
                    <a:gd name="connsiteX3" fmla="*/ 141521 w 141521"/>
                    <a:gd name="connsiteY3" fmla="*/ 180334 h 180334"/>
                    <a:gd name="connsiteX4" fmla="*/ 79259 w 141521"/>
                    <a:gd name="connsiteY4" fmla="*/ 0 h 180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521" h="180334">
                      <a:moveTo>
                        <a:pt x="79259" y="0"/>
                      </a:moveTo>
                      <a:lnTo>
                        <a:pt x="0" y="0"/>
                      </a:lnTo>
                      <a:lnTo>
                        <a:pt x="34271" y="180334"/>
                      </a:lnTo>
                      <a:lnTo>
                        <a:pt x="141521" y="180334"/>
                      </a:lnTo>
                      <a:lnTo>
                        <a:pt x="79259" y="0"/>
                      </a:ln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6" name="Freihandform 365">
                  <a:extLst>
                    <a:ext uri="{FF2B5EF4-FFF2-40B4-BE49-F238E27FC236}">
                      <a16:creationId xmlns:a16="http://schemas.microsoft.com/office/drawing/2014/main" id="{EC32ACCB-1BCE-8C8E-C32E-61444F85BD18}"/>
                    </a:ext>
                  </a:extLst>
                </p:cNvPr>
                <p:cNvSpPr/>
                <p:nvPr/>
              </p:nvSpPr>
              <p:spPr>
                <a:xfrm>
                  <a:off x="8165291" y="4733518"/>
                  <a:ext cx="98644" cy="56125"/>
                </a:xfrm>
                <a:custGeom>
                  <a:avLst/>
                  <a:gdLst>
                    <a:gd name="connsiteX0" fmla="*/ 94639 w 98644"/>
                    <a:gd name="connsiteY0" fmla="*/ 44496 h 56125"/>
                    <a:gd name="connsiteX1" fmla="*/ 34625 w 98644"/>
                    <a:gd name="connsiteY1" fmla="*/ 33903 h 56125"/>
                    <a:gd name="connsiteX2" fmla="*/ 34486 w 98644"/>
                    <a:gd name="connsiteY2" fmla="*/ 33878 h 56125"/>
                    <a:gd name="connsiteX3" fmla="*/ 13762 w 98644"/>
                    <a:gd name="connsiteY3" fmla="*/ 22450 h 56125"/>
                    <a:gd name="connsiteX4" fmla="*/ 5384 w 98644"/>
                    <a:gd name="connsiteY4" fmla="*/ 0 h 56125"/>
                    <a:gd name="connsiteX5" fmla="*/ 5384 w 98644"/>
                    <a:gd name="connsiteY5" fmla="*/ 0 h 56125"/>
                    <a:gd name="connsiteX6" fmla="*/ 0 w 98644"/>
                    <a:gd name="connsiteY6" fmla="*/ 0 h 56125"/>
                    <a:gd name="connsiteX7" fmla="*/ 5598 w 98644"/>
                    <a:gd name="connsiteY7" fmla="*/ 29466 h 56125"/>
                    <a:gd name="connsiteX8" fmla="*/ 5624 w 98644"/>
                    <a:gd name="connsiteY8" fmla="*/ 29504 h 56125"/>
                    <a:gd name="connsiteX9" fmla="*/ 32806 w 98644"/>
                    <a:gd name="connsiteY9" fmla="*/ 44508 h 56125"/>
                    <a:gd name="connsiteX10" fmla="*/ 98645 w 98644"/>
                    <a:gd name="connsiteY10" fmla="*/ 56125 h 56125"/>
                    <a:gd name="connsiteX11" fmla="*/ 94626 w 98644"/>
                    <a:gd name="connsiteY11" fmla="*/ 44483 h 56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8644" h="56125">
                      <a:moveTo>
                        <a:pt x="94639" y="44496"/>
                      </a:moveTo>
                      <a:lnTo>
                        <a:pt x="34625" y="33903"/>
                      </a:lnTo>
                      <a:lnTo>
                        <a:pt x="34486" y="33878"/>
                      </a:lnTo>
                      <a:cubicBezTo>
                        <a:pt x="26475" y="32664"/>
                        <a:pt x="19107" y="28606"/>
                        <a:pt x="13762" y="22450"/>
                      </a:cubicBezTo>
                      <a:cubicBezTo>
                        <a:pt x="8366" y="16231"/>
                        <a:pt x="5384" y="8255"/>
                        <a:pt x="5384" y="0"/>
                      </a:cubicBezTo>
                      <a:lnTo>
                        <a:pt x="5384" y="0"/>
                      </a:lnTo>
                      <a:cubicBezTo>
                        <a:pt x="5384" y="0"/>
                        <a:pt x="0" y="0"/>
                        <a:pt x="0" y="0"/>
                      </a:cubicBezTo>
                      <a:lnTo>
                        <a:pt x="5598" y="29466"/>
                      </a:lnTo>
                      <a:cubicBezTo>
                        <a:pt x="5598" y="29466"/>
                        <a:pt x="5611" y="29491"/>
                        <a:pt x="5624" y="29504"/>
                      </a:cubicBezTo>
                      <a:cubicBezTo>
                        <a:pt x="12637" y="37581"/>
                        <a:pt x="22279" y="42903"/>
                        <a:pt x="32806" y="44508"/>
                      </a:cubicBezTo>
                      <a:lnTo>
                        <a:pt x="98645" y="56125"/>
                      </a:lnTo>
                      <a:lnTo>
                        <a:pt x="94626" y="44483"/>
                      </a:ln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7" name="Freihandform 366">
                  <a:extLst>
                    <a:ext uri="{FF2B5EF4-FFF2-40B4-BE49-F238E27FC236}">
                      <a16:creationId xmlns:a16="http://schemas.microsoft.com/office/drawing/2014/main" id="{840E3255-53CB-0AC6-7027-64CCE6072DBA}"/>
                    </a:ext>
                  </a:extLst>
                </p:cNvPr>
                <p:cNvSpPr/>
                <p:nvPr/>
              </p:nvSpPr>
              <p:spPr>
                <a:xfrm rot="-1642140">
                  <a:off x="8199596" y="4860274"/>
                  <a:ext cx="107237" cy="107270"/>
                </a:xfrm>
                <a:custGeom>
                  <a:avLst/>
                  <a:gdLst>
                    <a:gd name="connsiteX0" fmla="*/ 107238 w 107237"/>
                    <a:gd name="connsiteY0" fmla="*/ 53635 h 107270"/>
                    <a:gd name="connsiteX1" fmla="*/ 53619 w 107237"/>
                    <a:gd name="connsiteY1" fmla="*/ 107270 h 107270"/>
                    <a:gd name="connsiteX2" fmla="*/ 1 w 107237"/>
                    <a:gd name="connsiteY2" fmla="*/ 53635 h 107270"/>
                    <a:gd name="connsiteX3" fmla="*/ 53619 w 107237"/>
                    <a:gd name="connsiteY3" fmla="*/ 0 h 107270"/>
                    <a:gd name="connsiteX4" fmla="*/ 107238 w 107237"/>
                    <a:gd name="connsiteY4" fmla="*/ 53635 h 107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7237" h="107270">
                      <a:moveTo>
                        <a:pt x="107238" y="53635"/>
                      </a:moveTo>
                      <a:cubicBezTo>
                        <a:pt x="107238" y="83257"/>
                        <a:pt x="83232" y="107270"/>
                        <a:pt x="53619" y="107270"/>
                      </a:cubicBezTo>
                      <a:cubicBezTo>
                        <a:pt x="24006" y="107270"/>
                        <a:pt x="1" y="83257"/>
                        <a:pt x="1" y="53635"/>
                      </a:cubicBezTo>
                      <a:cubicBezTo>
                        <a:pt x="1" y="24013"/>
                        <a:pt x="24006" y="0"/>
                        <a:pt x="53619" y="0"/>
                      </a:cubicBezTo>
                      <a:cubicBezTo>
                        <a:pt x="83232" y="0"/>
                        <a:pt x="107238" y="24013"/>
                        <a:pt x="107238" y="53635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8" name="Freihandform 367">
                  <a:extLst>
                    <a:ext uri="{FF2B5EF4-FFF2-40B4-BE49-F238E27FC236}">
                      <a16:creationId xmlns:a16="http://schemas.microsoft.com/office/drawing/2014/main" id="{DFE3BC79-8345-26FE-C0C3-47ED4FF0B00F}"/>
                    </a:ext>
                  </a:extLst>
                </p:cNvPr>
                <p:cNvSpPr/>
                <p:nvPr/>
              </p:nvSpPr>
              <p:spPr>
                <a:xfrm rot="-2059860">
                  <a:off x="8209115" y="4869763"/>
                  <a:ext cx="88180" cy="88207"/>
                </a:xfrm>
                <a:custGeom>
                  <a:avLst/>
                  <a:gdLst>
                    <a:gd name="connsiteX0" fmla="*/ 88181 w 88180"/>
                    <a:gd name="connsiteY0" fmla="*/ 44104 h 88207"/>
                    <a:gd name="connsiteX1" fmla="*/ 44090 w 88180"/>
                    <a:gd name="connsiteY1" fmla="*/ 88208 h 88207"/>
                    <a:gd name="connsiteX2" fmla="*/ -1 w 88180"/>
                    <a:gd name="connsiteY2" fmla="*/ 44104 h 88207"/>
                    <a:gd name="connsiteX3" fmla="*/ 44090 w 88180"/>
                    <a:gd name="connsiteY3" fmla="*/ 0 h 88207"/>
                    <a:gd name="connsiteX4" fmla="*/ 88181 w 88180"/>
                    <a:gd name="connsiteY4" fmla="*/ 44104 h 8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180" h="88207">
                      <a:moveTo>
                        <a:pt x="88181" y="44104"/>
                      </a:moveTo>
                      <a:cubicBezTo>
                        <a:pt x="88181" y="68462"/>
                        <a:pt x="68441" y="88208"/>
                        <a:pt x="44090" y="88208"/>
                      </a:cubicBezTo>
                      <a:cubicBezTo>
                        <a:pt x="19739" y="88208"/>
                        <a:pt x="-1" y="68462"/>
                        <a:pt x="-1" y="44104"/>
                      </a:cubicBezTo>
                      <a:cubicBezTo>
                        <a:pt x="-1" y="19746"/>
                        <a:pt x="19739" y="0"/>
                        <a:pt x="44090" y="0"/>
                      </a:cubicBezTo>
                      <a:cubicBezTo>
                        <a:pt x="68441" y="0"/>
                        <a:pt x="88181" y="19746"/>
                        <a:pt x="88181" y="44104"/>
                      </a:cubicBezTo>
                      <a:close/>
                    </a:path>
                  </a:pathLst>
                </a:custGeom>
                <a:solidFill>
                  <a:srgbClr val="06534B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9" name="Freihandform 368">
                  <a:extLst>
                    <a:ext uri="{FF2B5EF4-FFF2-40B4-BE49-F238E27FC236}">
                      <a16:creationId xmlns:a16="http://schemas.microsoft.com/office/drawing/2014/main" id="{913F9203-AB53-D2F9-B0CF-41DCF8A8D7DC}"/>
                    </a:ext>
                  </a:extLst>
                </p:cNvPr>
                <p:cNvSpPr/>
                <p:nvPr/>
              </p:nvSpPr>
              <p:spPr>
                <a:xfrm>
                  <a:off x="8211302" y="4910642"/>
                  <a:ext cx="6419" cy="6421"/>
                </a:xfrm>
                <a:custGeom>
                  <a:avLst/>
                  <a:gdLst>
                    <a:gd name="connsiteX0" fmla="*/ 3210 w 6419"/>
                    <a:gd name="connsiteY0" fmla="*/ 6421 h 6421"/>
                    <a:gd name="connsiteX1" fmla="*/ 0 w 6419"/>
                    <a:gd name="connsiteY1" fmla="*/ 3211 h 6421"/>
                    <a:gd name="connsiteX2" fmla="*/ 3210 w 6419"/>
                    <a:gd name="connsiteY2" fmla="*/ 0 h 6421"/>
                    <a:gd name="connsiteX3" fmla="*/ 6420 w 6419"/>
                    <a:gd name="connsiteY3" fmla="*/ 3211 h 6421"/>
                    <a:gd name="connsiteX4" fmla="*/ 3210 w 6419"/>
                    <a:gd name="connsiteY4" fmla="*/ 6421 h 6421"/>
                    <a:gd name="connsiteX5" fmla="*/ 3210 w 6419"/>
                    <a:gd name="connsiteY5" fmla="*/ 2515 h 6421"/>
                    <a:gd name="connsiteX6" fmla="*/ 2502 w 6419"/>
                    <a:gd name="connsiteY6" fmla="*/ 3223 h 6421"/>
                    <a:gd name="connsiteX7" fmla="*/ 3905 w 6419"/>
                    <a:gd name="connsiteY7" fmla="*/ 3223 h 6421"/>
                    <a:gd name="connsiteX8" fmla="*/ 3197 w 6419"/>
                    <a:gd name="connsiteY8" fmla="*/ 2515 h 6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419" h="6421">
                      <a:moveTo>
                        <a:pt x="3210" y="6421"/>
                      </a:moveTo>
                      <a:cubicBezTo>
                        <a:pt x="1441" y="6421"/>
                        <a:pt x="0" y="4980"/>
                        <a:pt x="0" y="3211"/>
                      </a:cubicBezTo>
                      <a:cubicBezTo>
                        <a:pt x="0" y="1441"/>
                        <a:pt x="1441" y="0"/>
                        <a:pt x="3210" y="0"/>
                      </a:cubicBezTo>
                      <a:cubicBezTo>
                        <a:pt x="4980" y="0"/>
                        <a:pt x="6420" y="1441"/>
                        <a:pt x="6420" y="3211"/>
                      </a:cubicBezTo>
                      <a:cubicBezTo>
                        <a:pt x="6420" y="4980"/>
                        <a:pt x="4980" y="6421"/>
                        <a:pt x="3210" y="6421"/>
                      </a:cubicBezTo>
                      <a:close/>
                      <a:moveTo>
                        <a:pt x="3210" y="2515"/>
                      </a:moveTo>
                      <a:cubicBezTo>
                        <a:pt x="2818" y="2515"/>
                        <a:pt x="2502" y="2832"/>
                        <a:pt x="2502" y="3223"/>
                      </a:cubicBezTo>
                      <a:cubicBezTo>
                        <a:pt x="2502" y="4007"/>
                        <a:pt x="3905" y="4007"/>
                        <a:pt x="3905" y="3223"/>
                      </a:cubicBezTo>
                      <a:cubicBezTo>
                        <a:pt x="3905" y="2832"/>
                        <a:pt x="3589" y="2515"/>
                        <a:pt x="3197" y="25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0" name="Freihandform 369">
                  <a:extLst>
                    <a:ext uri="{FF2B5EF4-FFF2-40B4-BE49-F238E27FC236}">
                      <a16:creationId xmlns:a16="http://schemas.microsoft.com/office/drawing/2014/main" id="{7D95DE96-D5C7-0360-BE98-1080C2ADAFEC}"/>
                    </a:ext>
                  </a:extLst>
                </p:cNvPr>
                <p:cNvSpPr/>
                <p:nvPr/>
              </p:nvSpPr>
              <p:spPr>
                <a:xfrm>
                  <a:off x="8269358" y="4944167"/>
                  <a:ext cx="6410" cy="6419"/>
                </a:xfrm>
                <a:custGeom>
                  <a:avLst/>
                  <a:gdLst>
                    <a:gd name="connsiteX0" fmla="*/ 3208 w 6410"/>
                    <a:gd name="connsiteY0" fmla="*/ 6419 h 6419"/>
                    <a:gd name="connsiteX1" fmla="*/ 2375 w 6410"/>
                    <a:gd name="connsiteY1" fmla="*/ 6306 h 6419"/>
                    <a:gd name="connsiteX2" fmla="*/ 428 w 6410"/>
                    <a:gd name="connsiteY2" fmla="*/ 4814 h 6419"/>
                    <a:gd name="connsiteX3" fmla="*/ 1603 w 6410"/>
                    <a:gd name="connsiteY3" fmla="*/ 440 h 6419"/>
                    <a:gd name="connsiteX4" fmla="*/ 4030 w 6410"/>
                    <a:gd name="connsiteY4" fmla="*/ 111 h 6419"/>
                    <a:gd name="connsiteX5" fmla="*/ 5976 w 6410"/>
                    <a:gd name="connsiteY5" fmla="*/ 1603 h 6419"/>
                    <a:gd name="connsiteX6" fmla="*/ 6304 w 6410"/>
                    <a:gd name="connsiteY6" fmla="*/ 4043 h 6419"/>
                    <a:gd name="connsiteX7" fmla="*/ 4814 w 6410"/>
                    <a:gd name="connsiteY7" fmla="*/ 5989 h 6419"/>
                    <a:gd name="connsiteX8" fmla="*/ 3221 w 6410"/>
                    <a:gd name="connsiteY8" fmla="*/ 6419 h 6419"/>
                    <a:gd name="connsiteX9" fmla="*/ 3208 w 6410"/>
                    <a:gd name="connsiteY9" fmla="*/ 2513 h 6419"/>
                    <a:gd name="connsiteX10" fmla="*/ 2854 w 6410"/>
                    <a:gd name="connsiteY10" fmla="*/ 2602 h 6419"/>
                    <a:gd name="connsiteX11" fmla="*/ 2602 w 6410"/>
                    <a:gd name="connsiteY11" fmla="*/ 3563 h 6419"/>
                    <a:gd name="connsiteX12" fmla="*/ 3032 w 6410"/>
                    <a:gd name="connsiteY12" fmla="*/ 3891 h 6419"/>
                    <a:gd name="connsiteX13" fmla="*/ 3562 w 6410"/>
                    <a:gd name="connsiteY13" fmla="*/ 3828 h 6419"/>
                    <a:gd name="connsiteX14" fmla="*/ 3891 w 6410"/>
                    <a:gd name="connsiteY14" fmla="*/ 3398 h 6419"/>
                    <a:gd name="connsiteX15" fmla="*/ 3828 w 6410"/>
                    <a:gd name="connsiteY15" fmla="*/ 2867 h 6419"/>
                    <a:gd name="connsiteX16" fmla="*/ 3398 w 6410"/>
                    <a:gd name="connsiteY16" fmla="*/ 2539 h 6419"/>
                    <a:gd name="connsiteX17" fmla="*/ 3221 w 6410"/>
                    <a:gd name="connsiteY17" fmla="*/ 2513 h 64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410" h="6419">
                      <a:moveTo>
                        <a:pt x="3208" y="6419"/>
                      </a:moveTo>
                      <a:cubicBezTo>
                        <a:pt x="2930" y="6419"/>
                        <a:pt x="2652" y="6381"/>
                        <a:pt x="2375" y="6306"/>
                      </a:cubicBezTo>
                      <a:cubicBezTo>
                        <a:pt x="1540" y="6078"/>
                        <a:pt x="858" y="5547"/>
                        <a:pt x="428" y="4814"/>
                      </a:cubicBezTo>
                      <a:cubicBezTo>
                        <a:pt x="-456" y="3272"/>
                        <a:pt x="75" y="1312"/>
                        <a:pt x="1603" y="440"/>
                      </a:cubicBezTo>
                      <a:cubicBezTo>
                        <a:pt x="2336" y="10"/>
                        <a:pt x="3208" y="-116"/>
                        <a:pt x="4030" y="111"/>
                      </a:cubicBezTo>
                      <a:cubicBezTo>
                        <a:pt x="4864" y="326"/>
                        <a:pt x="5559" y="858"/>
                        <a:pt x="5976" y="1603"/>
                      </a:cubicBezTo>
                      <a:cubicBezTo>
                        <a:pt x="6405" y="2349"/>
                        <a:pt x="6520" y="3208"/>
                        <a:pt x="6304" y="4043"/>
                      </a:cubicBezTo>
                      <a:cubicBezTo>
                        <a:pt x="6089" y="4877"/>
                        <a:pt x="5546" y="5560"/>
                        <a:pt x="4814" y="5989"/>
                      </a:cubicBezTo>
                      <a:cubicBezTo>
                        <a:pt x="4321" y="6280"/>
                        <a:pt x="3777" y="6419"/>
                        <a:pt x="3221" y="6419"/>
                      </a:cubicBezTo>
                      <a:close/>
                      <a:moveTo>
                        <a:pt x="3208" y="2513"/>
                      </a:moveTo>
                      <a:cubicBezTo>
                        <a:pt x="3082" y="2513"/>
                        <a:pt x="2969" y="2539"/>
                        <a:pt x="2854" y="2602"/>
                      </a:cubicBezTo>
                      <a:cubicBezTo>
                        <a:pt x="2526" y="2804"/>
                        <a:pt x="2399" y="3234"/>
                        <a:pt x="2602" y="3563"/>
                      </a:cubicBezTo>
                      <a:cubicBezTo>
                        <a:pt x="2690" y="3714"/>
                        <a:pt x="2842" y="3841"/>
                        <a:pt x="3032" y="3891"/>
                      </a:cubicBezTo>
                      <a:cubicBezTo>
                        <a:pt x="3208" y="3942"/>
                        <a:pt x="3398" y="3916"/>
                        <a:pt x="3562" y="3828"/>
                      </a:cubicBezTo>
                      <a:cubicBezTo>
                        <a:pt x="3727" y="3727"/>
                        <a:pt x="3840" y="3575"/>
                        <a:pt x="3891" y="3398"/>
                      </a:cubicBezTo>
                      <a:cubicBezTo>
                        <a:pt x="3941" y="3221"/>
                        <a:pt x="3916" y="3032"/>
                        <a:pt x="3828" y="2867"/>
                      </a:cubicBezTo>
                      <a:cubicBezTo>
                        <a:pt x="3727" y="2703"/>
                        <a:pt x="3575" y="2589"/>
                        <a:pt x="3398" y="2539"/>
                      </a:cubicBezTo>
                      <a:cubicBezTo>
                        <a:pt x="3335" y="2526"/>
                        <a:pt x="3272" y="2513"/>
                        <a:pt x="3221" y="251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1" name="Freihandform 370">
                  <a:extLst>
                    <a:ext uri="{FF2B5EF4-FFF2-40B4-BE49-F238E27FC236}">
                      <a16:creationId xmlns:a16="http://schemas.microsoft.com/office/drawing/2014/main" id="{2C94A894-1093-3985-8759-AD54111B00E9}"/>
                    </a:ext>
                  </a:extLst>
                </p:cNvPr>
                <p:cNvSpPr/>
                <p:nvPr/>
              </p:nvSpPr>
              <p:spPr>
                <a:xfrm>
                  <a:off x="8269358" y="4877110"/>
                  <a:ext cx="6410" cy="6429"/>
                </a:xfrm>
                <a:custGeom>
                  <a:avLst/>
                  <a:gdLst>
                    <a:gd name="connsiteX0" fmla="*/ 3196 w 6410"/>
                    <a:gd name="connsiteY0" fmla="*/ 6429 h 6429"/>
                    <a:gd name="connsiteX1" fmla="*/ 1603 w 6410"/>
                    <a:gd name="connsiteY1" fmla="*/ 5999 h 6429"/>
                    <a:gd name="connsiteX2" fmla="*/ 1603 w 6410"/>
                    <a:gd name="connsiteY2" fmla="*/ 5999 h 6429"/>
                    <a:gd name="connsiteX3" fmla="*/ 428 w 6410"/>
                    <a:gd name="connsiteY3" fmla="*/ 1613 h 6429"/>
                    <a:gd name="connsiteX4" fmla="*/ 2375 w 6410"/>
                    <a:gd name="connsiteY4" fmla="*/ 109 h 6429"/>
                    <a:gd name="connsiteX5" fmla="*/ 4814 w 6410"/>
                    <a:gd name="connsiteY5" fmla="*/ 437 h 6429"/>
                    <a:gd name="connsiteX6" fmla="*/ 6304 w 6410"/>
                    <a:gd name="connsiteY6" fmla="*/ 2384 h 6429"/>
                    <a:gd name="connsiteX7" fmla="*/ 5976 w 6410"/>
                    <a:gd name="connsiteY7" fmla="*/ 4823 h 6429"/>
                    <a:gd name="connsiteX8" fmla="*/ 3196 w 6410"/>
                    <a:gd name="connsiteY8" fmla="*/ 6429 h 6429"/>
                    <a:gd name="connsiteX9" fmla="*/ 2842 w 6410"/>
                    <a:gd name="connsiteY9" fmla="*/ 3825 h 6429"/>
                    <a:gd name="connsiteX10" fmla="*/ 3815 w 6410"/>
                    <a:gd name="connsiteY10" fmla="*/ 3572 h 6429"/>
                    <a:gd name="connsiteX11" fmla="*/ 3878 w 6410"/>
                    <a:gd name="connsiteY11" fmla="*/ 3041 h 6429"/>
                    <a:gd name="connsiteX12" fmla="*/ 3549 w 6410"/>
                    <a:gd name="connsiteY12" fmla="*/ 2611 h 6429"/>
                    <a:gd name="connsiteX13" fmla="*/ 3019 w 6410"/>
                    <a:gd name="connsiteY13" fmla="*/ 2548 h 6429"/>
                    <a:gd name="connsiteX14" fmla="*/ 2589 w 6410"/>
                    <a:gd name="connsiteY14" fmla="*/ 2877 h 6429"/>
                    <a:gd name="connsiteX15" fmla="*/ 2842 w 6410"/>
                    <a:gd name="connsiteY15" fmla="*/ 3838 h 6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6410" h="6429">
                      <a:moveTo>
                        <a:pt x="3196" y="6429"/>
                      </a:moveTo>
                      <a:cubicBezTo>
                        <a:pt x="2652" y="6429"/>
                        <a:pt x="2109" y="6290"/>
                        <a:pt x="1603" y="5999"/>
                      </a:cubicBezTo>
                      <a:lnTo>
                        <a:pt x="1603" y="5999"/>
                      </a:lnTo>
                      <a:cubicBezTo>
                        <a:pt x="75" y="5114"/>
                        <a:pt x="-456" y="3142"/>
                        <a:pt x="428" y="1613"/>
                      </a:cubicBezTo>
                      <a:cubicBezTo>
                        <a:pt x="858" y="867"/>
                        <a:pt x="1553" y="336"/>
                        <a:pt x="2375" y="109"/>
                      </a:cubicBezTo>
                      <a:cubicBezTo>
                        <a:pt x="3208" y="-106"/>
                        <a:pt x="4068" y="-5"/>
                        <a:pt x="4814" y="437"/>
                      </a:cubicBezTo>
                      <a:cubicBezTo>
                        <a:pt x="5559" y="867"/>
                        <a:pt x="6089" y="1550"/>
                        <a:pt x="6304" y="2384"/>
                      </a:cubicBezTo>
                      <a:cubicBezTo>
                        <a:pt x="6520" y="3218"/>
                        <a:pt x="6405" y="4078"/>
                        <a:pt x="5976" y="4823"/>
                      </a:cubicBezTo>
                      <a:cubicBezTo>
                        <a:pt x="5382" y="5848"/>
                        <a:pt x="4308" y="6429"/>
                        <a:pt x="3196" y="6429"/>
                      </a:cubicBezTo>
                      <a:close/>
                      <a:moveTo>
                        <a:pt x="2842" y="3825"/>
                      </a:moveTo>
                      <a:cubicBezTo>
                        <a:pt x="3183" y="4027"/>
                        <a:pt x="3613" y="3901"/>
                        <a:pt x="3815" y="3572"/>
                      </a:cubicBezTo>
                      <a:cubicBezTo>
                        <a:pt x="3903" y="3408"/>
                        <a:pt x="3929" y="3218"/>
                        <a:pt x="3878" y="3041"/>
                      </a:cubicBezTo>
                      <a:cubicBezTo>
                        <a:pt x="3828" y="2852"/>
                        <a:pt x="3714" y="2700"/>
                        <a:pt x="3549" y="2611"/>
                      </a:cubicBezTo>
                      <a:cubicBezTo>
                        <a:pt x="3385" y="2523"/>
                        <a:pt x="3196" y="2485"/>
                        <a:pt x="3019" y="2548"/>
                      </a:cubicBezTo>
                      <a:cubicBezTo>
                        <a:pt x="2829" y="2599"/>
                        <a:pt x="2678" y="2713"/>
                        <a:pt x="2589" y="2877"/>
                      </a:cubicBezTo>
                      <a:cubicBezTo>
                        <a:pt x="2399" y="3206"/>
                        <a:pt x="2514" y="3648"/>
                        <a:pt x="2842" y="383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2" name="Freihandform 371">
                  <a:extLst>
                    <a:ext uri="{FF2B5EF4-FFF2-40B4-BE49-F238E27FC236}">
                      <a16:creationId xmlns:a16="http://schemas.microsoft.com/office/drawing/2014/main" id="{C0299CE5-2791-8B1B-E022-C1CB4E9C1FC4}"/>
                    </a:ext>
                  </a:extLst>
                </p:cNvPr>
                <p:cNvSpPr/>
                <p:nvPr/>
              </p:nvSpPr>
              <p:spPr>
                <a:xfrm>
                  <a:off x="8196959" y="4696999"/>
                  <a:ext cx="258502" cy="123993"/>
                </a:xfrm>
                <a:custGeom>
                  <a:avLst/>
                  <a:gdLst>
                    <a:gd name="connsiteX0" fmla="*/ 258503 w 258502"/>
                    <a:gd name="connsiteY0" fmla="*/ 94149 h 123993"/>
                    <a:gd name="connsiteX1" fmla="*/ 258503 w 258502"/>
                    <a:gd name="connsiteY1" fmla="*/ 94149 h 123993"/>
                    <a:gd name="connsiteX2" fmla="*/ 231826 w 258502"/>
                    <a:gd name="connsiteY2" fmla="*/ 67464 h 123993"/>
                    <a:gd name="connsiteX3" fmla="*/ 222500 w 258502"/>
                    <a:gd name="connsiteY3" fmla="*/ 69145 h 123993"/>
                    <a:gd name="connsiteX4" fmla="*/ 23454 w 258502"/>
                    <a:gd name="connsiteY4" fmla="*/ 0 h 123993"/>
                    <a:gd name="connsiteX5" fmla="*/ 0 w 258502"/>
                    <a:gd name="connsiteY5" fmla="*/ 75352 h 123993"/>
                    <a:gd name="connsiteX6" fmla="*/ 175048 w 258502"/>
                    <a:gd name="connsiteY6" fmla="*/ 106258 h 123993"/>
                    <a:gd name="connsiteX7" fmla="*/ 218191 w 258502"/>
                    <a:gd name="connsiteY7" fmla="*/ 122098 h 123993"/>
                    <a:gd name="connsiteX8" fmla="*/ 218191 w 258502"/>
                    <a:gd name="connsiteY8" fmla="*/ 122098 h 123993"/>
                    <a:gd name="connsiteX9" fmla="*/ 228667 w 258502"/>
                    <a:gd name="connsiteY9" fmla="*/ 123994 h 123993"/>
                    <a:gd name="connsiteX10" fmla="*/ 258464 w 258502"/>
                    <a:gd name="connsiteY10" fmla="*/ 95526 h 123993"/>
                    <a:gd name="connsiteX11" fmla="*/ 258490 w 258502"/>
                    <a:gd name="connsiteY11" fmla="*/ 94275 h 123993"/>
                    <a:gd name="connsiteX12" fmla="*/ 258490 w 258502"/>
                    <a:gd name="connsiteY12" fmla="*/ 94149 h 1239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58502" h="123993">
                      <a:moveTo>
                        <a:pt x="258503" y="94149"/>
                      </a:moveTo>
                      <a:lnTo>
                        <a:pt x="258503" y="94149"/>
                      </a:lnTo>
                      <a:cubicBezTo>
                        <a:pt x="258503" y="79409"/>
                        <a:pt x="246561" y="67464"/>
                        <a:pt x="231826" y="67464"/>
                      </a:cubicBezTo>
                      <a:cubicBezTo>
                        <a:pt x="228540" y="67464"/>
                        <a:pt x="225406" y="68058"/>
                        <a:pt x="222500" y="69145"/>
                      </a:cubicBezTo>
                      <a:lnTo>
                        <a:pt x="23454" y="0"/>
                      </a:lnTo>
                      <a:lnTo>
                        <a:pt x="0" y="75352"/>
                      </a:lnTo>
                      <a:lnTo>
                        <a:pt x="175048" y="106258"/>
                      </a:lnTo>
                      <a:lnTo>
                        <a:pt x="218191" y="122098"/>
                      </a:lnTo>
                      <a:lnTo>
                        <a:pt x="218191" y="122098"/>
                      </a:lnTo>
                      <a:cubicBezTo>
                        <a:pt x="221451" y="123324"/>
                        <a:pt x="224977" y="123994"/>
                        <a:pt x="228667" y="123994"/>
                      </a:cubicBezTo>
                      <a:cubicBezTo>
                        <a:pt x="244677" y="123994"/>
                        <a:pt x="257745" y="111366"/>
                        <a:pt x="258464" y="95526"/>
                      </a:cubicBezTo>
                      <a:cubicBezTo>
                        <a:pt x="258490" y="95109"/>
                        <a:pt x="258490" y="94692"/>
                        <a:pt x="258490" y="94275"/>
                      </a:cubicBezTo>
                      <a:cubicBezTo>
                        <a:pt x="258490" y="94237"/>
                        <a:pt x="258490" y="94187"/>
                        <a:pt x="258490" y="94149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3" name="Freihandform 372">
                  <a:extLst>
                    <a:ext uri="{FF2B5EF4-FFF2-40B4-BE49-F238E27FC236}">
                      <a16:creationId xmlns:a16="http://schemas.microsoft.com/office/drawing/2014/main" id="{CA94C56C-13CF-7445-AE97-03B9AAC0D833}"/>
                    </a:ext>
                  </a:extLst>
                </p:cNvPr>
                <p:cNvSpPr/>
                <p:nvPr/>
              </p:nvSpPr>
              <p:spPr>
                <a:xfrm rot="-3382440">
                  <a:off x="8366446" y="4782457"/>
                  <a:ext cx="52380" cy="2502"/>
                </a:xfrm>
                <a:custGeom>
                  <a:avLst/>
                  <a:gdLst>
                    <a:gd name="connsiteX0" fmla="*/ 0 w 52380"/>
                    <a:gd name="connsiteY0" fmla="*/ 0 h 2502"/>
                    <a:gd name="connsiteX1" fmla="*/ 52381 w 52380"/>
                    <a:gd name="connsiteY1" fmla="*/ 0 h 2502"/>
                    <a:gd name="connsiteX2" fmla="*/ 52381 w 52380"/>
                    <a:gd name="connsiteY2" fmla="*/ 2503 h 2502"/>
                    <a:gd name="connsiteX3" fmla="*/ 0 w 52380"/>
                    <a:gd name="connsiteY3" fmla="*/ 2503 h 2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2380" h="2502">
                      <a:moveTo>
                        <a:pt x="0" y="0"/>
                      </a:moveTo>
                      <a:lnTo>
                        <a:pt x="52381" y="0"/>
                      </a:lnTo>
                      <a:lnTo>
                        <a:pt x="52381" y="2503"/>
                      </a:lnTo>
                      <a:lnTo>
                        <a:pt x="0" y="2503"/>
                      </a:ln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4" name="Freihandform 373">
                  <a:extLst>
                    <a:ext uri="{FF2B5EF4-FFF2-40B4-BE49-F238E27FC236}">
                      <a16:creationId xmlns:a16="http://schemas.microsoft.com/office/drawing/2014/main" id="{8DBCFE05-8280-7218-5D46-4B7BC66A07E9}"/>
                    </a:ext>
                  </a:extLst>
                </p:cNvPr>
                <p:cNvSpPr/>
                <p:nvPr/>
              </p:nvSpPr>
              <p:spPr>
                <a:xfrm>
                  <a:off x="8306534" y="4732305"/>
                  <a:ext cx="17591" cy="59917"/>
                </a:xfrm>
                <a:custGeom>
                  <a:avLst/>
                  <a:gdLst>
                    <a:gd name="connsiteX0" fmla="*/ 2427 w 17591"/>
                    <a:gd name="connsiteY0" fmla="*/ 59917 h 59917"/>
                    <a:gd name="connsiteX1" fmla="*/ 0 w 17591"/>
                    <a:gd name="connsiteY1" fmla="*/ 59298 h 59917"/>
                    <a:gd name="connsiteX2" fmla="*/ 15165 w 17591"/>
                    <a:gd name="connsiteY2" fmla="*/ 0 h 59917"/>
                    <a:gd name="connsiteX3" fmla="*/ 17591 w 17591"/>
                    <a:gd name="connsiteY3" fmla="*/ 619 h 59917"/>
                    <a:gd name="connsiteX4" fmla="*/ 2427 w 17591"/>
                    <a:gd name="connsiteY4" fmla="*/ 59917 h 59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591" h="59917">
                      <a:moveTo>
                        <a:pt x="2427" y="59917"/>
                      </a:moveTo>
                      <a:lnTo>
                        <a:pt x="0" y="59298"/>
                      </a:lnTo>
                      <a:lnTo>
                        <a:pt x="15165" y="0"/>
                      </a:lnTo>
                      <a:lnTo>
                        <a:pt x="17591" y="619"/>
                      </a:lnTo>
                      <a:lnTo>
                        <a:pt x="2427" y="59917"/>
                      </a:ln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75" name="Grafik 5">
                  <a:extLst>
                    <a:ext uri="{FF2B5EF4-FFF2-40B4-BE49-F238E27FC236}">
                      <a16:creationId xmlns:a16="http://schemas.microsoft.com/office/drawing/2014/main" id="{6C0413EC-A675-0A1A-E6FD-C72F32A02377}"/>
                    </a:ext>
                  </a:extLst>
                </p:cNvPr>
                <p:cNvGrpSpPr/>
                <p:nvPr/>
              </p:nvGrpSpPr>
              <p:grpSpPr>
                <a:xfrm>
                  <a:off x="8426826" y="4768129"/>
                  <a:ext cx="166346" cy="145673"/>
                  <a:chOff x="8426826" y="4768129"/>
                  <a:chExt cx="166346" cy="145673"/>
                </a:xfrm>
              </p:grpSpPr>
              <p:sp>
                <p:nvSpPr>
                  <p:cNvPr id="376" name="Freihandform 375">
                    <a:extLst>
                      <a:ext uri="{FF2B5EF4-FFF2-40B4-BE49-F238E27FC236}">
                        <a16:creationId xmlns:a16="http://schemas.microsoft.com/office/drawing/2014/main" id="{53E6D3BB-E30B-EF50-91C4-F6C1A88F30A3}"/>
                      </a:ext>
                    </a:extLst>
                  </p:cNvPr>
                  <p:cNvSpPr/>
                  <p:nvPr/>
                </p:nvSpPr>
                <p:spPr>
                  <a:xfrm>
                    <a:off x="8426826" y="4768129"/>
                    <a:ext cx="118421" cy="95501"/>
                  </a:xfrm>
                  <a:custGeom>
                    <a:avLst/>
                    <a:gdLst>
                      <a:gd name="connsiteX0" fmla="*/ 67634 w 118421"/>
                      <a:gd name="connsiteY0" fmla="*/ 10517 h 95501"/>
                      <a:gd name="connsiteX1" fmla="*/ 67634 w 118421"/>
                      <a:gd name="connsiteY1" fmla="*/ 10517 h 95501"/>
                      <a:gd name="connsiteX2" fmla="*/ 50826 w 118421"/>
                      <a:gd name="connsiteY2" fmla="*/ 2756 h 95501"/>
                      <a:gd name="connsiteX3" fmla="*/ 50169 w 118421"/>
                      <a:gd name="connsiteY3" fmla="*/ 2718 h 95501"/>
                      <a:gd name="connsiteX4" fmla="*/ 2629 w 118421"/>
                      <a:gd name="connsiteY4" fmla="*/ 0 h 95501"/>
                      <a:gd name="connsiteX5" fmla="*/ 0 w 118421"/>
                      <a:gd name="connsiteY5" fmla="*/ 45987 h 95501"/>
                      <a:gd name="connsiteX6" fmla="*/ 40009 w 118421"/>
                      <a:gd name="connsiteY6" fmla="*/ 48275 h 95501"/>
                      <a:gd name="connsiteX7" fmla="*/ 85123 w 118421"/>
                      <a:gd name="connsiteY7" fmla="*/ 95501 h 95501"/>
                      <a:gd name="connsiteX8" fmla="*/ 118422 w 118421"/>
                      <a:gd name="connsiteY8" fmla="*/ 63672 h 95501"/>
                      <a:gd name="connsiteX9" fmla="*/ 67646 w 118421"/>
                      <a:gd name="connsiteY9" fmla="*/ 10517 h 955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8421" h="95501">
                        <a:moveTo>
                          <a:pt x="67634" y="10517"/>
                        </a:moveTo>
                        <a:lnTo>
                          <a:pt x="67634" y="10517"/>
                        </a:lnTo>
                        <a:cubicBezTo>
                          <a:pt x="63224" y="5891"/>
                          <a:pt x="57208" y="3122"/>
                          <a:pt x="50826" y="2756"/>
                        </a:cubicBezTo>
                        <a:lnTo>
                          <a:pt x="50169" y="2718"/>
                        </a:lnTo>
                        <a:lnTo>
                          <a:pt x="2629" y="0"/>
                        </a:lnTo>
                        <a:lnTo>
                          <a:pt x="0" y="45987"/>
                        </a:lnTo>
                        <a:lnTo>
                          <a:pt x="40009" y="48275"/>
                        </a:lnTo>
                        <a:lnTo>
                          <a:pt x="85123" y="95501"/>
                        </a:lnTo>
                        <a:lnTo>
                          <a:pt x="118422" y="63672"/>
                        </a:lnTo>
                        <a:lnTo>
                          <a:pt x="67646" y="10517"/>
                        </a:lnTo>
                        <a:close/>
                      </a:path>
                    </a:pathLst>
                  </a:custGeom>
                  <a:solidFill>
                    <a:srgbClr val="B8DEDA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7" name="Freihandform 376">
                    <a:extLst>
                      <a:ext uri="{FF2B5EF4-FFF2-40B4-BE49-F238E27FC236}">
                        <a16:creationId xmlns:a16="http://schemas.microsoft.com/office/drawing/2014/main" id="{CE302737-EF2E-2244-A886-176E76D7B19C}"/>
                      </a:ext>
                    </a:extLst>
                  </p:cNvPr>
                  <p:cNvSpPr/>
                  <p:nvPr/>
                </p:nvSpPr>
                <p:spPr>
                  <a:xfrm rot="2778060">
                    <a:off x="8522923" y="4849504"/>
                    <a:ext cx="36394" cy="22766"/>
                  </a:xfrm>
                  <a:custGeom>
                    <a:avLst/>
                    <a:gdLst>
                      <a:gd name="connsiteX0" fmla="*/ 0 w 36394"/>
                      <a:gd name="connsiteY0" fmla="*/ 0 h 22766"/>
                      <a:gd name="connsiteX1" fmla="*/ 27915 w 36394"/>
                      <a:gd name="connsiteY1" fmla="*/ 0 h 22766"/>
                      <a:gd name="connsiteX2" fmla="*/ 36395 w 36394"/>
                      <a:gd name="connsiteY2" fmla="*/ 8482 h 22766"/>
                      <a:gd name="connsiteX3" fmla="*/ 36395 w 36394"/>
                      <a:gd name="connsiteY3" fmla="*/ 14284 h 22766"/>
                      <a:gd name="connsiteX4" fmla="*/ 27915 w 36394"/>
                      <a:gd name="connsiteY4" fmla="*/ 22766 h 22766"/>
                      <a:gd name="connsiteX5" fmla="*/ 0 w 36394"/>
                      <a:gd name="connsiteY5" fmla="*/ 22766 h 22766"/>
                      <a:gd name="connsiteX6" fmla="*/ 0 w 36394"/>
                      <a:gd name="connsiteY6" fmla="*/ 13 h 22766"/>
                      <a:gd name="connsiteX7" fmla="*/ 0 w 36394"/>
                      <a:gd name="connsiteY7" fmla="*/ 13 h 227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4" h="22766">
                        <a:moveTo>
                          <a:pt x="0" y="0"/>
                        </a:moveTo>
                        <a:lnTo>
                          <a:pt x="27915" y="0"/>
                        </a:lnTo>
                        <a:cubicBezTo>
                          <a:pt x="32591" y="0"/>
                          <a:pt x="36395" y="3792"/>
                          <a:pt x="36395" y="8482"/>
                        </a:cubicBezTo>
                        <a:lnTo>
                          <a:pt x="36395" y="14284"/>
                        </a:lnTo>
                        <a:cubicBezTo>
                          <a:pt x="36395" y="18961"/>
                          <a:pt x="32604" y="22766"/>
                          <a:pt x="27915" y="22766"/>
                        </a:cubicBezTo>
                        <a:lnTo>
                          <a:pt x="0" y="22766"/>
                        </a:lnTo>
                        <a:lnTo>
                          <a:pt x="0" y="13"/>
                        </a:lnTo>
                        <a:lnTo>
                          <a:pt x="0" y="13"/>
                        </a:lnTo>
                        <a:close/>
                      </a:path>
                    </a:pathLst>
                  </a:custGeom>
                  <a:solidFill>
                    <a:srgbClr val="06534B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8" name="Freihandform 377">
                    <a:extLst>
                      <a:ext uri="{FF2B5EF4-FFF2-40B4-BE49-F238E27FC236}">
                        <a16:creationId xmlns:a16="http://schemas.microsoft.com/office/drawing/2014/main" id="{BA8CEEED-FE98-E6DE-3ADF-829DAC322510}"/>
                      </a:ext>
                    </a:extLst>
                  </p:cNvPr>
                  <p:cNvSpPr/>
                  <p:nvPr/>
                </p:nvSpPr>
                <p:spPr>
                  <a:xfrm rot="2778060">
                    <a:off x="8537583" y="4836140"/>
                    <a:ext cx="14305" cy="57035"/>
                  </a:xfrm>
                  <a:custGeom>
                    <a:avLst/>
                    <a:gdLst>
                      <a:gd name="connsiteX0" fmla="*/ 10274 w 14305"/>
                      <a:gd name="connsiteY0" fmla="*/ 0 h 57035"/>
                      <a:gd name="connsiteX1" fmla="*/ 14305 w 14305"/>
                      <a:gd name="connsiteY1" fmla="*/ 4032 h 57035"/>
                      <a:gd name="connsiteX2" fmla="*/ 14305 w 14305"/>
                      <a:gd name="connsiteY2" fmla="*/ 53003 h 57035"/>
                      <a:gd name="connsiteX3" fmla="*/ 10274 w 14305"/>
                      <a:gd name="connsiteY3" fmla="*/ 57035 h 57035"/>
                      <a:gd name="connsiteX4" fmla="*/ 4031 w 14305"/>
                      <a:gd name="connsiteY4" fmla="*/ 57035 h 57035"/>
                      <a:gd name="connsiteX5" fmla="*/ 0 w 14305"/>
                      <a:gd name="connsiteY5" fmla="*/ 53003 h 57035"/>
                      <a:gd name="connsiteX6" fmla="*/ 0 w 14305"/>
                      <a:gd name="connsiteY6" fmla="*/ 4032 h 57035"/>
                      <a:gd name="connsiteX7" fmla="*/ 4031 w 14305"/>
                      <a:gd name="connsiteY7" fmla="*/ 0 h 570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4305" h="57035">
                        <a:moveTo>
                          <a:pt x="10274" y="0"/>
                        </a:moveTo>
                        <a:cubicBezTo>
                          <a:pt x="12501" y="0"/>
                          <a:pt x="14305" y="1805"/>
                          <a:pt x="14305" y="4032"/>
                        </a:cubicBezTo>
                        <a:lnTo>
                          <a:pt x="14305" y="53003"/>
                        </a:lnTo>
                        <a:cubicBezTo>
                          <a:pt x="14305" y="55230"/>
                          <a:pt x="12500" y="57035"/>
                          <a:pt x="10274" y="57035"/>
                        </a:cubicBezTo>
                        <a:lnTo>
                          <a:pt x="4031" y="57035"/>
                        </a:lnTo>
                        <a:cubicBezTo>
                          <a:pt x="1804" y="57035"/>
                          <a:pt x="0" y="55230"/>
                          <a:pt x="0" y="53003"/>
                        </a:cubicBezTo>
                        <a:lnTo>
                          <a:pt x="0" y="4032"/>
                        </a:lnTo>
                        <a:cubicBezTo>
                          <a:pt x="0" y="1805"/>
                          <a:pt x="1805" y="0"/>
                          <a:pt x="4031" y="0"/>
                        </a:cubicBezTo>
                        <a:close/>
                      </a:path>
                    </a:pathLst>
                  </a:custGeom>
                  <a:solidFill>
                    <a:srgbClr val="0A827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79" name="Grafik 5">
                    <a:extLst>
                      <a:ext uri="{FF2B5EF4-FFF2-40B4-BE49-F238E27FC236}">
                        <a16:creationId xmlns:a16="http://schemas.microsoft.com/office/drawing/2014/main" id="{692DED00-0CBE-C458-0605-C8959669E225}"/>
                      </a:ext>
                    </a:extLst>
                  </p:cNvPr>
                  <p:cNvGrpSpPr/>
                  <p:nvPr/>
                </p:nvGrpSpPr>
                <p:grpSpPr>
                  <a:xfrm>
                    <a:off x="8522016" y="4843080"/>
                    <a:ext cx="71156" cy="70722"/>
                    <a:chOff x="8522016" y="4843080"/>
                    <a:chExt cx="71156" cy="70722"/>
                  </a:xfrm>
                  <a:solidFill>
                    <a:srgbClr val="0A8276"/>
                  </a:solidFill>
                </p:grpSpPr>
                <p:sp>
                  <p:nvSpPr>
                    <p:cNvPr id="380" name="Freihandform 379">
                      <a:extLst>
                        <a:ext uri="{FF2B5EF4-FFF2-40B4-BE49-F238E27FC236}">
                          <a16:creationId xmlns:a16="http://schemas.microsoft.com/office/drawing/2014/main" id="{8FFD359F-C5DB-29DB-7535-0C5670045A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560948" y="4843080"/>
                      <a:ext cx="32224" cy="41406"/>
                    </a:xfrm>
                    <a:custGeom>
                      <a:avLst/>
                      <a:gdLst>
                        <a:gd name="connsiteX0" fmla="*/ 28048 w 32224"/>
                        <a:gd name="connsiteY0" fmla="*/ 40662 h 41406"/>
                        <a:gd name="connsiteX1" fmla="*/ 842 w 32224"/>
                        <a:gd name="connsiteY1" fmla="*/ 12182 h 41406"/>
                        <a:gd name="connsiteX2" fmla="*/ 943 w 32224"/>
                        <a:gd name="connsiteY2" fmla="*/ 7884 h 41406"/>
                        <a:gd name="connsiteX3" fmla="*/ 8309 w 32224"/>
                        <a:gd name="connsiteY3" fmla="*/ 843 h 41406"/>
                        <a:gd name="connsiteX4" fmla="*/ 13111 w 32224"/>
                        <a:gd name="connsiteY4" fmla="*/ 1639 h 41406"/>
                        <a:gd name="connsiteX5" fmla="*/ 31953 w 32224"/>
                        <a:gd name="connsiteY5" fmla="*/ 37881 h 41406"/>
                        <a:gd name="connsiteX6" fmla="*/ 31473 w 32224"/>
                        <a:gd name="connsiteY6" fmla="*/ 40738 h 41406"/>
                        <a:gd name="connsiteX7" fmla="*/ 31473 w 32224"/>
                        <a:gd name="connsiteY7" fmla="*/ 40738 h 41406"/>
                        <a:gd name="connsiteX8" fmla="*/ 28062 w 32224"/>
                        <a:gd name="connsiteY8" fmla="*/ 40662 h 414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32224" h="41406">
                          <a:moveTo>
                            <a:pt x="28048" y="40662"/>
                          </a:moveTo>
                          <a:lnTo>
                            <a:pt x="842" y="12182"/>
                          </a:lnTo>
                          <a:cubicBezTo>
                            <a:pt x="-322" y="10968"/>
                            <a:pt x="-271" y="9047"/>
                            <a:pt x="943" y="7884"/>
                          </a:cubicBezTo>
                          <a:lnTo>
                            <a:pt x="8309" y="843"/>
                          </a:lnTo>
                          <a:cubicBezTo>
                            <a:pt x="9776" y="-560"/>
                            <a:pt x="12177" y="-156"/>
                            <a:pt x="13111" y="1639"/>
                          </a:cubicBezTo>
                          <a:lnTo>
                            <a:pt x="31953" y="37881"/>
                          </a:lnTo>
                          <a:cubicBezTo>
                            <a:pt x="32446" y="38829"/>
                            <a:pt x="32257" y="40004"/>
                            <a:pt x="31473" y="40738"/>
                          </a:cubicBezTo>
                          <a:lnTo>
                            <a:pt x="31473" y="40738"/>
                          </a:lnTo>
                          <a:cubicBezTo>
                            <a:pt x="30513" y="41660"/>
                            <a:pt x="28984" y="41623"/>
                            <a:pt x="28062" y="40662"/>
                          </a:cubicBezTo>
                          <a:close/>
                        </a:path>
                      </a:pathLst>
                    </a:custGeom>
                    <a:solidFill>
                      <a:srgbClr val="0A8276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81" name="Freihandform 380">
                      <a:extLst>
                        <a:ext uri="{FF2B5EF4-FFF2-40B4-BE49-F238E27FC236}">
                          <a16:creationId xmlns:a16="http://schemas.microsoft.com/office/drawing/2014/main" id="{18BCADB5-2319-F8B7-697E-5A0FD06122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522016" y="4880301"/>
                      <a:ext cx="40480" cy="33501"/>
                    </a:xfrm>
                    <a:custGeom>
                      <a:avLst/>
                      <a:gdLst>
                        <a:gd name="connsiteX0" fmla="*/ 39811 w 40480"/>
                        <a:gd name="connsiteY0" fmla="*/ 29418 h 33501"/>
                        <a:gd name="connsiteX1" fmla="*/ 12604 w 40480"/>
                        <a:gd name="connsiteY1" fmla="*/ 938 h 33501"/>
                        <a:gd name="connsiteX2" fmla="*/ 8307 w 40480"/>
                        <a:gd name="connsiteY2" fmla="*/ 837 h 33501"/>
                        <a:gd name="connsiteX3" fmla="*/ 940 w 40480"/>
                        <a:gd name="connsiteY3" fmla="*/ 7878 h 33501"/>
                        <a:gd name="connsiteX4" fmla="*/ 1521 w 40480"/>
                        <a:gd name="connsiteY4" fmla="*/ 12706 h 33501"/>
                        <a:gd name="connsiteX5" fmla="*/ 36854 w 40480"/>
                        <a:gd name="connsiteY5" fmla="*/ 33172 h 33501"/>
                        <a:gd name="connsiteX6" fmla="*/ 39735 w 40480"/>
                        <a:gd name="connsiteY6" fmla="*/ 32831 h 33501"/>
                        <a:gd name="connsiteX7" fmla="*/ 39735 w 40480"/>
                        <a:gd name="connsiteY7" fmla="*/ 32831 h 33501"/>
                        <a:gd name="connsiteX8" fmla="*/ 39811 w 40480"/>
                        <a:gd name="connsiteY8" fmla="*/ 29418 h 335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0480" h="33501">
                          <a:moveTo>
                            <a:pt x="39811" y="29418"/>
                          </a:moveTo>
                          <a:lnTo>
                            <a:pt x="12604" y="938"/>
                          </a:lnTo>
                          <a:cubicBezTo>
                            <a:pt x="11441" y="-276"/>
                            <a:pt x="9520" y="-314"/>
                            <a:pt x="8307" y="837"/>
                          </a:cubicBezTo>
                          <a:lnTo>
                            <a:pt x="940" y="7878"/>
                          </a:lnTo>
                          <a:cubicBezTo>
                            <a:pt x="-526" y="9281"/>
                            <a:pt x="-235" y="11695"/>
                            <a:pt x="1521" y="12706"/>
                          </a:cubicBezTo>
                          <a:lnTo>
                            <a:pt x="36854" y="33172"/>
                          </a:lnTo>
                          <a:cubicBezTo>
                            <a:pt x="37789" y="33716"/>
                            <a:pt x="38952" y="33576"/>
                            <a:pt x="39735" y="32831"/>
                          </a:cubicBezTo>
                          <a:lnTo>
                            <a:pt x="39735" y="32831"/>
                          </a:lnTo>
                          <a:cubicBezTo>
                            <a:pt x="40696" y="31908"/>
                            <a:pt x="40734" y="30378"/>
                            <a:pt x="39811" y="29418"/>
                          </a:cubicBezTo>
                          <a:close/>
                        </a:path>
                      </a:pathLst>
                    </a:custGeom>
                    <a:solidFill>
                      <a:srgbClr val="0A8276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382" name="Freihandform 381">
                    <a:extLst>
                      <a:ext uri="{FF2B5EF4-FFF2-40B4-BE49-F238E27FC236}">
                        <a16:creationId xmlns:a16="http://schemas.microsoft.com/office/drawing/2014/main" id="{EE4E1BCE-F3CC-7614-57EA-34854857459B}"/>
                      </a:ext>
                    </a:extLst>
                  </p:cNvPr>
                  <p:cNvSpPr/>
                  <p:nvPr/>
                </p:nvSpPr>
                <p:spPr>
                  <a:xfrm>
                    <a:off x="8426826" y="4768129"/>
                    <a:ext cx="32288" cy="47150"/>
                  </a:xfrm>
                  <a:custGeom>
                    <a:avLst/>
                    <a:gdLst>
                      <a:gd name="connsiteX0" fmla="*/ 2629 w 32288"/>
                      <a:gd name="connsiteY0" fmla="*/ 25 h 47150"/>
                      <a:gd name="connsiteX1" fmla="*/ 24971 w 32288"/>
                      <a:gd name="connsiteY1" fmla="*/ 23019 h 47150"/>
                      <a:gd name="connsiteX2" fmla="*/ 1959 w 32288"/>
                      <a:gd name="connsiteY2" fmla="*/ 46038 h 47150"/>
                      <a:gd name="connsiteX3" fmla="*/ 0 w 32288"/>
                      <a:gd name="connsiteY3" fmla="*/ 45950 h 47150"/>
                      <a:gd name="connsiteX4" fmla="*/ 0 w 32288"/>
                      <a:gd name="connsiteY4" fmla="*/ 45987 h 47150"/>
                      <a:gd name="connsiteX5" fmla="*/ 20333 w 32288"/>
                      <a:gd name="connsiteY5" fmla="*/ 47150 h 47150"/>
                      <a:gd name="connsiteX6" fmla="*/ 32288 w 32288"/>
                      <a:gd name="connsiteY6" fmla="*/ 23019 h 47150"/>
                      <a:gd name="connsiteX7" fmla="*/ 22962 w 32288"/>
                      <a:gd name="connsiteY7" fmla="*/ 1163 h 47150"/>
                      <a:gd name="connsiteX8" fmla="*/ 2616 w 32288"/>
                      <a:gd name="connsiteY8" fmla="*/ 0 h 47150"/>
                      <a:gd name="connsiteX9" fmla="*/ 2616 w 32288"/>
                      <a:gd name="connsiteY9" fmla="*/ 25 h 47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2288" h="47150">
                        <a:moveTo>
                          <a:pt x="2629" y="25"/>
                        </a:moveTo>
                        <a:cubicBezTo>
                          <a:pt x="15000" y="379"/>
                          <a:pt x="24971" y="10555"/>
                          <a:pt x="24971" y="23019"/>
                        </a:cubicBezTo>
                        <a:cubicBezTo>
                          <a:pt x="24971" y="35710"/>
                          <a:pt x="14646" y="46038"/>
                          <a:pt x="1959" y="46038"/>
                        </a:cubicBezTo>
                        <a:cubicBezTo>
                          <a:pt x="1302" y="46038"/>
                          <a:pt x="645" y="46000"/>
                          <a:pt x="0" y="45950"/>
                        </a:cubicBezTo>
                        <a:lnTo>
                          <a:pt x="0" y="45987"/>
                        </a:lnTo>
                        <a:cubicBezTo>
                          <a:pt x="0" y="45987"/>
                          <a:pt x="20333" y="47150"/>
                          <a:pt x="20333" y="47150"/>
                        </a:cubicBezTo>
                        <a:cubicBezTo>
                          <a:pt x="27599" y="41601"/>
                          <a:pt x="32288" y="32853"/>
                          <a:pt x="32288" y="23019"/>
                        </a:cubicBezTo>
                        <a:cubicBezTo>
                          <a:pt x="32288" y="14436"/>
                          <a:pt x="28699" y="6687"/>
                          <a:pt x="22962" y="1163"/>
                        </a:cubicBezTo>
                        <a:lnTo>
                          <a:pt x="2616" y="0"/>
                        </a:lnTo>
                        <a:lnTo>
                          <a:pt x="2616" y="25"/>
                        </a:ln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83" name="Freihandform 382">
                  <a:extLst>
                    <a:ext uri="{FF2B5EF4-FFF2-40B4-BE49-F238E27FC236}">
                      <a16:creationId xmlns:a16="http://schemas.microsoft.com/office/drawing/2014/main" id="{8AE6F86F-F5E8-676B-F5A2-B5CFFD816126}"/>
                    </a:ext>
                  </a:extLst>
                </p:cNvPr>
                <p:cNvSpPr/>
                <p:nvPr/>
              </p:nvSpPr>
              <p:spPr>
                <a:xfrm>
                  <a:off x="8165316" y="4693877"/>
                  <a:ext cx="79259" cy="79283"/>
                </a:xfrm>
                <a:custGeom>
                  <a:avLst/>
                  <a:gdLst>
                    <a:gd name="connsiteX0" fmla="*/ 79259 w 79259"/>
                    <a:gd name="connsiteY0" fmla="*/ 39641 h 79283"/>
                    <a:gd name="connsiteX1" fmla="*/ 39629 w 79259"/>
                    <a:gd name="connsiteY1" fmla="*/ 79283 h 79283"/>
                    <a:gd name="connsiteX2" fmla="*/ 0 w 79259"/>
                    <a:gd name="connsiteY2" fmla="*/ 39641 h 79283"/>
                    <a:gd name="connsiteX3" fmla="*/ 39629 w 79259"/>
                    <a:gd name="connsiteY3" fmla="*/ 0 h 79283"/>
                    <a:gd name="connsiteX4" fmla="*/ 79259 w 79259"/>
                    <a:gd name="connsiteY4" fmla="*/ 39641 h 792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259" h="79283">
                      <a:moveTo>
                        <a:pt x="79259" y="39641"/>
                      </a:moveTo>
                      <a:cubicBezTo>
                        <a:pt x="79259" y="61535"/>
                        <a:pt x="61516" y="79283"/>
                        <a:pt x="39629" y="79283"/>
                      </a:cubicBezTo>
                      <a:cubicBezTo>
                        <a:pt x="17742" y="79283"/>
                        <a:pt x="0" y="61535"/>
                        <a:pt x="0" y="39641"/>
                      </a:cubicBezTo>
                      <a:cubicBezTo>
                        <a:pt x="0" y="17748"/>
                        <a:pt x="17743" y="0"/>
                        <a:pt x="39629" y="0"/>
                      </a:cubicBezTo>
                      <a:cubicBezTo>
                        <a:pt x="61517" y="0"/>
                        <a:pt x="79259" y="17748"/>
                        <a:pt x="79259" y="39641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4" name="Freihandform 383">
                  <a:extLst>
                    <a:ext uri="{FF2B5EF4-FFF2-40B4-BE49-F238E27FC236}">
                      <a16:creationId xmlns:a16="http://schemas.microsoft.com/office/drawing/2014/main" id="{D38AE0DE-E689-5118-A0DE-4EEA38F68275}"/>
                    </a:ext>
                  </a:extLst>
                </p:cNvPr>
                <p:cNvSpPr/>
                <p:nvPr/>
              </p:nvSpPr>
              <p:spPr>
                <a:xfrm>
                  <a:off x="8174895" y="4703458"/>
                  <a:ext cx="60101" cy="60119"/>
                </a:xfrm>
                <a:custGeom>
                  <a:avLst/>
                  <a:gdLst>
                    <a:gd name="connsiteX0" fmla="*/ 60101 w 60101"/>
                    <a:gd name="connsiteY0" fmla="*/ 30060 h 60119"/>
                    <a:gd name="connsiteX1" fmla="*/ 30051 w 60101"/>
                    <a:gd name="connsiteY1" fmla="*/ 60119 h 60119"/>
                    <a:gd name="connsiteX2" fmla="*/ 0 w 60101"/>
                    <a:gd name="connsiteY2" fmla="*/ 30060 h 60119"/>
                    <a:gd name="connsiteX3" fmla="*/ 30051 w 60101"/>
                    <a:gd name="connsiteY3" fmla="*/ 0 h 60119"/>
                    <a:gd name="connsiteX4" fmla="*/ 60101 w 60101"/>
                    <a:gd name="connsiteY4" fmla="*/ 30060 h 60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01" h="60119">
                      <a:moveTo>
                        <a:pt x="60101" y="30060"/>
                      </a:moveTo>
                      <a:cubicBezTo>
                        <a:pt x="60101" y="46661"/>
                        <a:pt x="46647" y="60119"/>
                        <a:pt x="30051" y="60119"/>
                      </a:cubicBezTo>
                      <a:cubicBezTo>
                        <a:pt x="13454" y="60119"/>
                        <a:pt x="0" y="46661"/>
                        <a:pt x="0" y="30060"/>
                      </a:cubicBezTo>
                      <a:cubicBezTo>
                        <a:pt x="0" y="13458"/>
                        <a:pt x="13455" y="0"/>
                        <a:pt x="30051" y="0"/>
                      </a:cubicBezTo>
                      <a:cubicBezTo>
                        <a:pt x="46647" y="0"/>
                        <a:pt x="60101" y="13458"/>
                        <a:pt x="60101" y="30060"/>
                      </a:cubicBezTo>
                      <a:close/>
                    </a:path>
                  </a:pathLst>
                </a:custGeom>
                <a:solidFill>
                  <a:srgbClr val="06534B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5" name="Freihandform 384">
                  <a:extLst>
                    <a:ext uri="{FF2B5EF4-FFF2-40B4-BE49-F238E27FC236}">
                      <a16:creationId xmlns:a16="http://schemas.microsoft.com/office/drawing/2014/main" id="{BF066236-258C-B96E-82D6-F73AA69383D7}"/>
                    </a:ext>
                  </a:extLst>
                </p:cNvPr>
                <p:cNvSpPr/>
                <p:nvPr/>
              </p:nvSpPr>
              <p:spPr>
                <a:xfrm>
                  <a:off x="8176310" y="4730307"/>
                  <a:ext cx="6419" cy="6421"/>
                </a:xfrm>
                <a:custGeom>
                  <a:avLst/>
                  <a:gdLst>
                    <a:gd name="connsiteX0" fmla="*/ 3210 w 6419"/>
                    <a:gd name="connsiteY0" fmla="*/ 6421 h 6421"/>
                    <a:gd name="connsiteX1" fmla="*/ 0 w 6419"/>
                    <a:gd name="connsiteY1" fmla="*/ 3211 h 6421"/>
                    <a:gd name="connsiteX2" fmla="*/ 3210 w 6419"/>
                    <a:gd name="connsiteY2" fmla="*/ 0 h 6421"/>
                    <a:gd name="connsiteX3" fmla="*/ 6420 w 6419"/>
                    <a:gd name="connsiteY3" fmla="*/ 3211 h 6421"/>
                    <a:gd name="connsiteX4" fmla="*/ 3210 w 6419"/>
                    <a:gd name="connsiteY4" fmla="*/ 6421 h 6421"/>
                    <a:gd name="connsiteX5" fmla="*/ 3210 w 6419"/>
                    <a:gd name="connsiteY5" fmla="*/ 2516 h 6421"/>
                    <a:gd name="connsiteX6" fmla="*/ 2502 w 6419"/>
                    <a:gd name="connsiteY6" fmla="*/ 3223 h 6421"/>
                    <a:gd name="connsiteX7" fmla="*/ 3905 w 6419"/>
                    <a:gd name="connsiteY7" fmla="*/ 3223 h 6421"/>
                    <a:gd name="connsiteX8" fmla="*/ 3197 w 6419"/>
                    <a:gd name="connsiteY8" fmla="*/ 2516 h 6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419" h="6421">
                      <a:moveTo>
                        <a:pt x="3210" y="6421"/>
                      </a:moveTo>
                      <a:cubicBezTo>
                        <a:pt x="1441" y="6421"/>
                        <a:pt x="0" y="4981"/>
                        <a:pt x="0" y="3211"/>
                      </a:cubicBezTo>
                      <a:cubicBezTo>
                        <a:pt x="0" y="1441"/>
                        <a:pt x="1441" y="0"/>
                        <a:pt x="3210" y="0"/>
                      </a:cubicBezTo>
                      <a:cubicBezTo>
                        <a:pt x="4979" y="0"/>
                        <a:pt x="6420" y="1441"/>
                        <a:pt x="6420" y="3211"/>
                      </a:cubicBezTo>
                      <a:cubicBezTo>
                        <a:pt x="6420" y="4981"/>
                        <a:pt x="4979" y="6421"/>
                        <a:pt x="3210" y="6421"/>
                      </a:cubicBezTo>
                      <a:close/>
                      <a:moveTo>
                        <a:pt x="3210" y="2516"/>
                      </a:moveTo>
                      <a:cubicBezTo>
                        <a:pt x="2818" y="2516"/>
                        <a:pt x="2502" y="2832"/>
                        <a:pt x="2502" y="3223"/>
                      </a:cubicBezTo>
                      <a:cubicBezTo>
                        <a:pt x="2502" y="4007"/>
                        <a:pt x="3905" y="4007"/>
                        <a:pt x="3905" y="3223"/>
                      </a:cubicBezTo>
                      <a:cubicBezTo>
                        <a:pt x="3905" y="2832"/>
                        <a:pt x="3589" y="2516"/>
                        <a:pt x="3197" y="251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6" name="Freihandform 385">
                  <a:extLst>
                    <a:ext uri="{FF2B5EF4-FFF2-40B4-BE49-F238E27FC236}">
                      <a16:creationId xmlns:a16="http://schemas.microsoft.com/office/drawing/2014/main" id="{1C0FB38F-AE50-8AE4-CED9-D106F6C63ACC}"/>
                    </a:ext>
                  </a:extLst>
                </p:cNvPr>
                <p:cNvSpPr/>
                <p:nvPr/>
              </p:nvSpPr>
              <p:spPr>
                <a:xfrm>
                  <a:off x="8214444" y="4752329"/>
                  <a:ext cx="6403" cy="6420"/>
                </a:xfrm>
                <a:custGeom>
                  <a:avLst/>
                  <a:gdLst>
                    <a:gd name="connsiteX0" fmla="*/ 3214 w 6403"/>
                    <a:gd name="connsiteY0" fmla="*/ 6420 h 6420"/>
                    <a:gd name="connsiteX1" fmla="*/ 2381 w 6403"/>
                    <a:gd name="connsiteY1" fmla="*/ 6306 h 6420"/>
                    <a:gd name="connsiteX2" fmla="*/ 435 w 6403"/>
                    <a:gd name="connsiteY2" fmla="*/ 4815 h 6420"/>
                    <a:gd name="connsiteX3" fmla="*/ 106 w 6403"/>
                    <a:gd name="connsiteY3" fmla="*/ 2375 h 6420"/>
                    <a:gd name="connsiteX4" fmla="*/ 1597 w 6403"/>
                    <a:gd name="connsiteY4" fmla="*/ 428 h 6420"/>
                    <a:gd name="connsiteX5" fmla="*/ 1597 w 6403"/>
                    <a:gd name="connsiteY5" fmla="*/ 428 h 6420"/>
                    <a:gd name="connsiteX6" fmla="*/ 5969 w 6403"/>
                    <a:gd name="connsiteY6" fmla="*/ 1604 h 6420"/>
                    <a:gd name="connsiteX7" fmla="*/ 6298 w 6403"/>
                    <a:gd name="connsiteY7" fmla="*/ 4044 h 6420"/>
                    <a:gd name="connsiteX8" fmla="*/ 4807 w 6403"/>
                    <a:gd name="connsiteY8" fmla="*/ 5990 h 6420"/>
                    <a:gd name="connsiteX9" fmla="*/ 3214 w 6403"/>
                    <a:gd name="connsiteY9" fmla="*/ 6420 h 6420"/>
                    <a:gd name="connsiteX10" fmla="*/ 2848 w 6403"/>
                    <a:gd name="connsiteY10" fmla="*/ 2603 h 6420"/>
                    <a:gd name="connsiteX11" fmla="*/ 2519 w 6403"/>
                    <a:gd name="connsiteY11" fmla="*/ 3032 h 6420"/>
                    <a:gd name="connsiteX12" fmla="*/ 2583 w 6403"/>
                    <a:gd name="connsiteY12" fmla="*/ 3564 h 6420"/>
                    <a:gd name="connsiteX13" fmla="*/ 3012 w 6403"/>
                    <a:gd name="connsiteY13" fmla="*/ 3892 h 6420"/>
                    <a:gd name="connsiteX14" fmla="*/ 3543 w 6403"/>
                    <a:gd name="connsiteY14" fmla="*/ 3829 h 6420"/>
                    <a:gd name="connsiteX15" fmla="*/ 3871 w 6403"/>
                    <a:gd name="connsiteY15" fmla="*/ 3399 h 6420"/>
                    <a:gd name="connsiteX16" fmla="*/ 3809 w 6403"/>
                    <a:gd name="connsiteY16" fmla="*/ 2868 h 6420"/>
                    <a:gd name="connsiteX17" fmla="*/ 2836 w 6403"/>
                    <a:gd name="connsiteY17" fmla="*/ 2615 h 6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403" h="6420">
                      <a:moveTo>
                        <a:pt x="3214" y="6420"/>
                      </a:moveTo>
                      <a:cubicBezTo>
                        <a:pt x="2937" y="6420"/>
                        <a:pt x="2659" y="6382"/>
                        <a:pt x="2381" y="6306"/>
                      </a:cubicBezTo>
                      <a:cubicBezTo>
                        <a:pt x="1547" y="6079"/>
                        <a:pt x="864" y="5548"/>
                        <a:pt x="435" y="4815"/>
                      </a:cubicBezTo>
                      <a:cubicBezTo>
                        <a:pt x="5" y="4069"/>
                        <a:pt x="-109" y="3209"/>
                        <a:pt x="106" y="2375"/>
                      </a:cubicBezTo>
                      <a:cubicBezTo>
                        <a:pt x="321" y="1541"/>
                        <a:pt x="864" y="858"/>
                        <a:pt x="1597" y="428"/>
                      </a:cubicBezTo>
                      <a:lnTo>
                        <a:pt x="1597" y="428"/>
                      </a:lnTo>
                      <a:cubicBezTo>
                        <a:pt x="3113" y="-456"/>
                        <a:pt x="5098" y="75"/>
                        <a:pt x="5969" y="1604"/>
                      </a:cubicBezTo>
                      <a:cubicBezTo>
                        <a:pt x="6399" y="2350"/>
                        <a:pt x="6513" y="3209"/>
                        <a:pt x="6298" y="4044"/>
                      </a:cubicBezTo>
                      <a:cubicBezTo>
                        <a:pt x="6084" y="4878"/>
                        <a:pt x="5540" y="5561"/>
                        <a:pt x="4807" y="5990"/>
                      </a:cubicBezTo>
                      <a:cubicBezTo>
                        <a:pt x="4314" y="6281"/>
                        <a:pt x="3770" y="6420"/>
                        <a:pt x="3214" y="6420"/>
                      </a:cubicBezTo>
                      <a:close/>
                      <a:moveTo>
                        <a:pt x="2848" y="2603"/>
                      </a:moveTo>
                      <a:cubicBezTo>
                        <a:pt x="2684" y="2691"/>
                        <a:pt x="2570" y="2856"/>
                        <a:pt x="2519" y="3032"/>
                      </a:cubicBezTo>
                      <a:cubicBezTo>
                        <a:pt x="2469" y="3209"/>
                        <a:pt x="2495" y="3399"/>
                        <a:pt x="2583" y="3564"/>
                      </a:cubicBezTo>
                      <a:cubicBezTo>
                        <a:pt x="2684" y="3728"/>
                        <a:pt x="2836" y="3842"/>
                        <a:pt x="3012" y="3892"/>
                      </a:cubicBezTo>
                      <a:cubicBezTo>
                        <a:pt x="3190" y="3943"/>
                        <a:pt x="3379" y="3917"/>
                        <a:pt x="3543" y="3829"/>
                      </a:cubicBezTo>
                      <a:cubicBezTo>
                        <a:pt x="3707" y="3728"/>
                        <a:pt x="3821" y="3576"/>
                        <a:pt x="3871" y="3399"/>
                      </a:cubicBezTo>
                      <a:cubicBezTo>
                        <a:pt x="3922" y="3222"/>
                        <a:pt x="3897" y="3032"/>
                        <a:pt x="3809" y="2868"/>
                      </a:cubicBezTo>
                      <a:cubicBezTo>
                        <a:pt x="3606" y="2527"/>
                        <a:pt x="3176" y="2413"/>
                        <a:pt x="2836" y="26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7" name="Freihandform 386">
                  <a:extLst>
                    <a:ext uri="{FF2B5EF4-FFF2-40B4-BE49-F238E27FC236}">
                      <a16:creationId xmlns:a16="http://schemas.microsoft.com/office/drawing/2014/main" id="{F7AEC41B-0962-1319-750D-EECB995373FA}"/>
                    </a:ext>
                  </a:extLst>
                </p:cNvPr>
                <p:cNvSpPr/>
                <p:nvPr/>
              </p:nvSpPr>
              <p:spPr>
                <a:xfrm rot="-4968420">
                  <a:off x="8402162" y="4764501"/>
                  <a:ext cx="53353" cy="53369"/>
                </a:xfrm>
                <a:custGeom>
                  <a:avLst/>
                  <a:gdLst>
                    <a:gd name="connsiteX0" fmla="*/ 53354 w 53353"/>
                    <a:gd name="connsiteY0" fmla="*/ 26685 h 53369"/>
                    <a:gd name="connsiteX1" fmla="*/ 26677 w 53353"/>
                    <a:gd name="connsiteY1" fmla="*/ 53370 h 53369"/>
                    <a:gd name="connsiteX2" fmla="*/ 0 w 53353"/>
                    <a:gd name="connsiteY2" fmla="*/ 26685 h 53369"/>
                    <a:gd name="connsiteX3" fmla="*/ 26677 w 53353"/>
                    <a:gd name="connsiteY3" fmla="*/ 0 h 53369"/>
                    <a:gd name="connsiteX4" fmla="*/ 53354 w 53353"/>
                    <a:gd name="connsiteY4" fmla="*/ 26685 h 533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353" h="53369">
                      <a:moveTo>
                        <a:pt x="53354" y="26685"/>
                      </a:moveTo>
                      <a:cubicBezTo>
                        <a:pt x="53354" y="41422"/>
                        <a:pt x="41410" y="53370"/>
                        <a:pt x="26677" y="53370"/>
                      </a:cubicBezTo>
                      <a:cubicBezTo>
                        <a:pt x="11943" y="53370"/>
                        <a:pt x="0" y="41422"/>
                        <a:pt x="0" y="26685"/>
                      </a:cubicBezTo>
                      <a:cubicBezTo>
                        <a:pt x="0" y="11947"/>
                        <a:pt x="11943" y="0"/>
                        <a:pt x="26677" y="0"/>
                      </a:cubicBezTo>
                      <a:cubicBezTo>
                        <a:pt x="41410" y="0"/>
                        <a:pt x="53354" y="11947"/>
                        <a:pt x="53354" y="26685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8" name="Freihandform 387">
                  <a:extLst>
                    <a:ext uri="{FF2B5EF4-FFF2-40B4-BE49-F238E27FC236}">
                      <a16:creationId xmlns:a16="http://schemas.microsoft.com/office/drawing/2014/main" id="{A4037A66-DD2A-E554-03FA-A864F15B7E67}"/>
                    </a:ext>
                  </a:extLst>
                </p:cNvPr>
                <p:cNvSpPr/>
                <p:nvPr/>
              </p:nvSpPr>
              <p:spPr>
                <a:xfrm rot="-4874160">
                  <a:off x="8405863" y="4768213"/>
                  <a:ext cx="45948" cy="45962"/>
                </a:xfrm>
                <a:custGeom>
                  <a:avLst/>
                  <a:gdLst>
                    <a:gd name="connsiteX0" fmla="*/ 45948 w 45948"/>
                    <a:gd name="connsiteY0" fmla="*/ 22981 h 45962"/>
                    <a:gd name="connsiteX1" fmla="*/ 22974 w 45948"/>
                    <a:gd name="connsiteY1" fmla="*/ 45962 h 45962"/>
                    <a:gd name="connsiteX2" fmla="*/ 0 w 45948"/>
                    <a:gd name="connsiteY2" fmla="*/ 22981 h 45962"/>
                    <a:gd name="connsiteX3" fmla="*/ 22974 w 45948"/>
                    <a:gd name="connsiteY3" fmla="*/ 0 h 45962"/>
                    <a:gd name="connsiteX4" fmla="*/ 45948 w 45948"/>
                    <a:gd name="connsiteY4" fmla="*/ 22981 h 459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948" h="45962">
                      <a:moveTo>
                        <a:pt x="45948" y="22981"/>
                      </a:moveTo>
                      <a:cubicBezTo>
                        <a:pt x="45948" y="35673"/>
                        <a:pt x="35662" y="45962"/>
                        <a:pt x="22974" y="45962"/>
                      </a:cubicBezTo>
                      <a:cubicBezTo>
                        <a:pt x="10286" y="45962"/>
                        <a:pt x="0" y="35673"/>
                        <a:pt x="0" y="22981"/>
                      </a:cubicBezTo>
                      <a:cubicBezTo>
                        <a:pt x="0" y="10289"/>
                        <a:pt x="10286" y="0"/>
                        <a:pt x="22974" y="0"/>
                      </a:cubicBezTo>
                      <a:cubicBezTo>
                        <a:pt x="35662" y="0"/>
                        <a:pt x="45948" y="10289"/>
                        <a:pt x="45948" y="22981"/>
                      </a:cubicBezTo>
                      <a:close/>
                    </a:path>
                  </a:pathLst>
                </a:custGeom>
                <a:solidFill>
                  <a:srgbClr val="06534B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89" name="Grafik 5">
                  <a:extLst>
                    <a:ext uri="{FF2B5EF4-FFF2-40B4-BE49-F238E27FC236}">
                      <a16:creationId xmlns:a16="http://schemas.microsoft.com/office/drawing/2014/main" id="{E596C786-E0DA-5DE4-099A-67136AE4E3E6}"/>
                    </a:ext>
                  </a:extLst>
                </p:cNvPr>
                <p:cNvGrpSpPr/>
                <p:nvPr/>
              </p:nvGrpSpPr>
              <p:grpSpPr>
                <a:xfrm>
                  <a:off x="8425570" y="4770125"/>
                  <a:ext cx="6416" cy="42057"/>
                  <a:chOff x="8425570" y="4770125"/>
                  <a:chExt cx="6416" cy="42057"/>
                </a:xfrm>
                <a:solidFill>
                  <a:srgbClr val="FFFFFF"/>
                </a:solidFill>
              </p:grpSpPr>
              <p:sp>
                <p:nvSpPr>
                  <p:cNvPr id="390" name="Freihandform 389">
                    <a:extLst>
                      <a:ext uri="{FF2B5EF4-FFF2-40B4-BE49-F238E27FC236}">
                        <a16:creationId xmlns:a16="http://schemas.microsoft.com/office/drawing/2014/main" id="{D931BF27-EC23-3E98-2694-5A156829CAD2}"/>
                      </a:ext>
                    </a:extLst>
                  </p:cNvPr>
                  <p:cNvSpPr/>
                  <p:nvPr/>
                </p:nvSpPr>
                <p:spPr>
                  <a:xfrm>
                    <a:off x="8425570" y="4805762"/>
                    <a:ext cx="6403" cy="6420"/>
                  </a:xfrm>
                  <a:custGeom>
                    <a:avLst/>
                    <a:gdLst>
                      <a:gd name="connsiteX0" fmla="*/ 3215 w 6403"/>
                      <a:gd name="connsiteY0" fmla="*/ 6420 h 6420"/>
                      <a:gd name="connsiteX1" fmla="*/ 2381 w 6403"/>
                      <a:gd name="connsiteY1" fmla="*/ 6307 h 6420"/>
                      <a:gd name="connsiteX2" fmla="*/ 434 w 6403"/>
                      <a:gd name="connsiteY2" fmla="*/ 4815 h 6420"/>
                      <a:gd name="connsiteX3" fmla="*/ 106 w 6403"/>
                      <a:gd name="connsiteY3" fmla="*/ 2375 h 6420"/>
                      <a:gd name="connsiteX4" fmla="*/ 1597 w 6403"/>
                      <a:gd name="connsiteY4" fmla="*/ 429 h 6420"/>
                      <a:gd name="connsiteX5" fmla="*/ 1597 w 6403"/>
                      <a:gd name="connsiteY5" fmla="*/ 429 h 6420"/>
                      <a:gd name="connsiteX6" fmla="*/ 5970 w 6403"/>
                      <a:gd name="connsiteY6" fmla="*/ 1604 h 6420"/>
                      <a:gd name="connsiteX7" fmla="*/ 6298 w 6403"/>
                      <a:gd name="connsiteY7" fmla="*/ 4044 h 6420"/>
                      <a:gd name="connsiteX8" fmla="*/ 4807 w 6403"/>
                      <a:gd name="connsiteY8" fmla="*/ 5991 h 6420"/>
                      <a:gd name="connsiteX9" fmla="*/ 3215 w 6403"/>
                      <a:gd name="connsiteY9" fmla="*/ 6420 h 6420"/>
                      <a:gd name="connsiteX10" fmla="*/ 2848 w 6403"/>
                      <a:gd name="connsiteY10" fmla="*/ 2603 h 6420"/>
                      <a:gd name="connsiteX11" fmla="*/ 2520 w 6403"/>
                      <a:gd name="connsiteY11" fmla="*/ 3032 h 6420"/>
                      <a:gd name="connsiteX12" fmla="*/ 2583 w 6403"/>
                      <a:gd name="connsiteY12" fmla="*/ 3563 h 6420"/>
                      <a:gd name="connsiteX13" fmla="*/ 3013 w 6403"/>
                      <a:gd name="connsiteY13" fmla="*/ 3892 h 6420"/>
                      <a:gd name="connsiteX14" fmla="*/ 3543 w 6403"/>
                      <a:gd name="connsiteY14" fmla="*/ 3829 h 6420"/>
                      <a:gd name="connsiteX15" fmla="*/ 3872 w 6403"/>
                      <a:gd name="connsiteY15" fmla="*/ 3399 h 6420"/>
                      <a:gd name="connsiteX16" fmla="*/ 3809 w 6403"/>
                      <a:gd name="connsiteY16" fmla="*/ 2868 h 6420"/>
                      <a:gd name="connsiteX17" fmla="*/ 2835 w 6403"/>
                      <a:gd name="connsiteY17" fmla="*/ 2615 h 64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6403" h="6420">
                        <a:moveTo>
                          <a:pt x="3215" y="6420"/>
                        </a:moveTo>
                        <a:cubicBezTo>
                          <a:pt x="2936" y="6420"/>
                          <a:pt x="2659" y="6382"/>
                          <a:pt x="2381" y="6307"/>
                        </a:cubicBezTo>
                        <a:cubicBezTo>
                          <a:pt x="1546" y="6079"/>
                          <a:pt x="865" y="5548"/>
                          <a:pt x="434" y="4815"/>
                        </a:cubicBezTo>
                        <a:cubicBezTo>
                          <a:pt x="5" y="4069"/>
                          <a:pt x="-109" y="3210"/>
                          <a:pt x="106" y="2375"/>
                        </a:cubicBezTo>
                        <a:cubicBezTo>
                          <a:pt x="321" y="1541"/>
                          <a:pt x="865" y="858"/>
                          <a:pt x="1597" y="429"/>
                        </a:cubicBezTo>
                        <a:lnTo>
                          <a:pt x="1597" y="429"/>
                        </a:lnTo>
                        <a:cubicBezTo>
                          <a:pt x="3114" y="-456"/>
                          <a:pt x="5085" y="74"/>
                          <a:pt x="5970" y="1604"/>
                        </a:cubicBezTo>
                        <a:cubicBezTo>
                          <a:pt x="6399" y="2350"/>
                          <a:pt x="6513" y="3210"/>
                          <a:pt x="6298" y="4044"/>
                        </a:cubicBezTo>
                        <a:cubicBezTo>
                          <a:pt x="6083" y="4878"/>
                          <a:pt x="5540" y="5560"/>
                          <a:pt x="4807" y="5991"/>
                        </a:cubicBezTo>
                        <a:cubicBezTo>
                          <a:pt x="4314" y="6281"/>
                          <a:pt x="3771" y="6420"/>
                          <a:pt x="3215" y="6420"/>
                        </a:cubicBezTo>
                        <a:close/>
                        <a:moveTo>
                          <a:pt x="2848" y="2603"/>
                        </a:moveTo>
                        <a:cubicBezTo>
                          <a:pt x="2684" y="2691"/>
                          <a:pt x="2570" y="2855"/>
                          <a:pt x="2520" y="3032"/>
                        </a:cubicBezTo>
                        <a:cubicBezTo>
                          <a:pt x="2469" y="3210"/>
                          <a:pt x="2494" y="3399"/>
                          <a:pt x="2583" y="3563"/>
                        </a:cubicBezTo>
                        <a:cubicBezTo>
                          <a:pt x="2684" y="3728"/>
                          <a:pt x="2835" y="3841"/>
                          <a:pt x="3013" y="3892"/>
                        </a:cubicBezTo>
                        <a:cubicBezTo>
                          <a:pt x="3189" y="3943"/>
                          <a:pt x="3379" y="3917"/>
                          <a:pt x="3543" y="3829"/>
                        </a:cubicBezTo>
                        <a:cubicBezTo>
                          <a:pt x="3708" y="3728"/>
                          <a:pt x="3821" y="3576"/>
                          <a:pt x="3872" y="3399"/>
                        </a:cubicBezTo>
                        <a:cubicBezTo>
                          <a:pt x="3922" y="3222"/>
                          <a:pt x="3897" y="3032"/>
                          <a:pt x="3809" y="2868"/>
                        </a:cubicBezTo>
                        <a:cubicBezTo>
                          <a:pt x="3607" y="2527"/>
                          <a:pt x="3177" y="2413"/>
                          <a:pt x="2835" y="26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1" name="Freihandform 390">
                    <a:extLst>
                      <a:ext uri="{FF2B5EF4-FFF2-40B4-BE49-F238E27FC236}">
                        <a16:creationId xmlns:a16="http://schemas.microsoft.com/office/drawing/2014/main" id="{36B9201D-261C-094E-826B-E797DB39CF55}"/>
                      </a:ext>
                    </a:extLst>
                  </p:cNvPr>
                  <p:cNvSpPr/>
                  <p:nvPr/>
                </p:nvSpPr>
                <p:spPr>
                  <a:xfrm>
                    <a:off x="8425570" y="4770125"/>
                    <a:ext cx="6416" cy="6422"/>
                  </a:xfrm>
                  <a:custGeom>
                    <a:avLst/>
                    <a:gdLst>
                      <a:gd name="connsiteX0" fmla="*/ 3215 w 6416"/>
                      <a:gd name="connsiteY0" fmla="*/ 6423 h 6422"/>
                      <a:gd name="connsiteX1" fmla="*/ 2381 w 6416"/>
                      <a:gd name="connsiteY1" fmla="*/ 6309 h 6422"/>
                      <a:gd name="connsiteX2" fmla="*/ 434 w 6416"/>
                      <a:gd name="connsiteY2" fmla="*/ 4817 h 6422"/>
                      <a:gd name="connsiteX3" fmla="*/ 106 w 6416"/>
                      <a:gd name="connsiteY3" fmla="*/ 2377 h 6422"/>
                      <a:gd name="connsiteX4" fmla="*/ 1610 w 6416"/>
                      <a:gd name="connsiteY4" fmla="*/ 431 h 6422"/>
                      <a:gd name="connsiteX5" fmla="*/ 4036 w 6416"/>
                      <a:gd name="connsiteY5" fmla="*/ 115 h 6422"/>
                      <a:gd name="connsiteX6" fmla="*/ 5982 w 6416"/>
                      <a:gd name="connsiteY6" fmla="*/ 1606 h 6422"/>
                      <a:gd name="connsiteX7" fmla="*/ 6311 w 6416"/>
                      <a:gd name="connsiteY7" fmla="*/ 4046 h 6422"/>
                      <a:gd name="connsiteX8" fmla="*/ 4820 w 6416"/>
                      <a:gd name="connsiteY8" fmla="*/ 5993 h 6422"/>
                      <a:gd name="connsiteX9" fmla="*/ 3227 w 6416"/>
                      <a:gd name="connsiteY9" fmla="*/ 6423 h 6422"/>
                      <a:gd name="connsiteX10" fmla="*/ 3215 w 6416"/>
                      <a:gd name="connsiteY10" fmla="*/ 2516 h 6422"/>
                      <a:gd name="connsiteX11" fmla="*/ 2861 w 6416"/>
                      <a:gd name="connsiteY11" fmla="*/ 2605 h 6422"/>
                      <a:gd name="connsiteX12" fmla="*/ 2861 w 6416"/>
                      <a:gd name="connsiteY12" fmla="*/ 2605 h 6422"/>
                      <a:gd name="connsiteX13" fmla="*/ 2532 w 6416"/>
                      <a:gd name="connsiteY13" fmla="*/ 3035 h 6422"/>
                      <a:gd name="connsiteX14" fmla="*/ 2595 w 6416"/>
                      <a:gd name="connsiteY14" fmla="*/ 3566 h 6422"/>
                      <a:gd name="connsiteX15" fmla="*/ 3025 w 6416"/>
                      <a:gd name="connsiteY15" fmla="*/ 3894 h 6422"/>
                      <a:gd name="connsiteX16" fmla="*/ 3556 w 6416"/>
                      <a:gd name="connsiteY16" fmla="*/ 3831 h 6422"/>
                      <a:gd name="connsiteX17" fmla="*/ 3884 w 6416"/>
                      <a:gd name="connsiteY17" fmla="*/ 3401 h 6422"/>
                      <a:gd name="connsiteX18" fmla="*/ 3821 w 6416"/>
                      <a:gd name="connsiteY18" fmla="*/ 2870 h 6422"/>
                      <a:gd name="connsiteX19" fmla="*/ 3391 w 6416"/>
                      <a:gd name="connsiteY19" fmla="*/ 2542 h 6422"/>
                      <a:gd name="connsiteX20" fmla="*/ 3215 w 6416"/>
                      <a:gd name="connsiteY20" fmla="*/ 2516 h 6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6416" h="6422">
                        <a:moveTo>
                          <a:pt x="3215" y="6423"/>
                        </a:moveTo>
                        <a:cubicBezTo>
                          <a:pt x="2936" y="6423"/>
                          <a:pt x="2659" y="6384"/>
                          <a:pt x="2381" y="6309"/>
                        </a:cubicBezTo>
                        <a:cubicBezTo>
                          <a:pt x="1546" y="6081"/>
                          <a:pt x="865" y="5550"/>
                          <a:pt x="434" y="4817"/>
                        </a:cubicBezTo>
                        <a:cubicBezTo>
                          <a:pt x="5" y="4071"/>
                          <a:pt x="-109" y="3212"/>
                          <a:pt x="106" y="2377"/>
                        </a:cubicBezTo>
                        <a:cubicBezTo>
                          <a:pt x="321" y="1543"/>
                          <a:pt x="865" y="861"/>
                          <a:pt x="1610" y="431"/>
                        </a:cubicBezTo>
                        <a:cubicBezTo>
                          <a:pt x="2342" y="1"/>
                          <a:pt x="3215" y="-113"/>
                          <a:pt x="4036" y="115"/>
                        </a:cubicBezTo>
                        <a:cubicBezTo>
                          <a:pt x="4870" y="329"/>
                          <a:pt x="5565" y="861"/>
                          <a:pt x="5982" y="1606"/>
                        </a:cubicBezTo>
                        <a:cubicBezTo>
                          <a:pt x="6412" y="2352"/>
                          <a:pt x="6526" y="3212"/>
                          <a:pt x="6311" y="4046"/>
                        </a:cubicBezTo>
                        <a:cubicBezTo>
                          <a:pt x="6096" y="4880"/>
                          <a:pt x="5553" y="5563"/>
                          <a:pt x="4820" y="5993"/>
                        </a:cubicBezTo>
                        <a:cubicBezTo>
                          <a:pt x="4327" y="6283"/>
                          <a:pt x="3783" y="6423"/>
                          <a:pt x="3227" y="6423"/>
                        </a:cubicBezTo>
                        <a:close/>
                        <a:moveTo>
                          <a:pt x="3215" y="2516"/>
                        </a:moveTo>
                        <a:cubicBezTo>
                          <a:pt x="3088" y="2516"/>
                          <a:pt x="2975" y="2542"/>
                          <a:pt x="2861" y="2605"/>
                        </a:cubicBezTo>
                        <a:lnTo>
                          <a:pt x="2861" y="2605"/>
                        </a:lnTo>
                        <a:cubicBezTo>
                          <a:pt x="2696" y="2706"/>
                          <a:pt x="2583" y="2858"/>
                          <a:pt x="2532" y="3035"/>
                        </a:cubicBezTo>
                        <a:cubicBezTo>
                          <a:pt x="2482" y="3212"/>
                          <a:pt x="2507" y="3401"/>
                          <a:pt x="2595" y="3566"/>
                        </a:cubicBezTo>
                        <a:cubicBezTo>
                          <a:pt x="2696" y="3730"/>
                          <a:pt x="2848" y="3844"/>
                          <a:pt x="3025" y="3894"/>
                        </a:cubicBezTo>
                        <a:cubicBezTo>
                          <a:pt x="3202" y="3958"/>
                          <a:pt x="3391" y="3920"/>
                          <a:pt x="3556" y="3831"/>
                        </a:cubicBezTo>
                        <a:cubicBezTo>
                          <a:pt x="3720" y="3730"/>
                          <a:pt x="3834" y="3578"/>
                          <a:pt x="3884" y="3401"/>
                        </a:cubicBezTo>
                        <a:cubicBezTo>
                          <a:pt x="3935" y="3224"/>
                          <a:pt x="3910" y="3035"/>
                          <a:pt x="3821" y="2870"/>
                        </a:cubicBezTo>
                        <a:cubicBezTo>
                          <a:pt x="3720" y="2706"/>
                          <a:pt x="3569" y="2592"/>
                          <a:pt x="3391" y="2542"/>
                        </a:cubicBezTo>
                        <a:cubicBezTo>
                          <a:pt x="3328" y="2529"/>
                          <a:pt x="3265" y="2516"/>
                          <a:pt x="3215" y="25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92" name="Grafik 5">
                  <a:extLst>
                    <a:ext uri="{FF2B5EF4-FFF2-40B4-BE49-F238E27FC236}">
                      <a16:creationId xmlns:a16="http://schemas.microsoft.com/office/drawing/2014/main" id="{62183969-4858-00B0-EBA8-B65FB447540B}"/>
                    </a:ext>
                  </a:extLst>
                </p:cNvPr>
                <p:cNvGrpSpPr/>
                <p:nvPr/>
              </p:nvGrpSpPr>
              <p:grpSpPr>
                <a:xfrm>
                  <a:off x="8217355" y="5015876"/>
                  <a:ext cx="126749" cy="77513"/>
                  <a:chOff x="8217355" y="5015876"/>
                  <a:chExt cx="126749" cy="77513"/>
                </a:xfrm>
                <a:solidFill>
                  <a:srgbClr val="6CB4AD"/>
                </a:solidFill>
              </p:grpSpPr>
              <p:sp>
                <p:nvSpPr>
                  <p:cNvPr id="393" name="Freihandform 392">
                    <a:extLst>
                      <a:ext uri="{FF2B5EF4-FFF2-40B4-BE49-F238E27FC236}">
                        <a16:creationId xmlns:a16="http://schemas.microsoft.com/office/drawing/2014/main" id="{AD5B92FA-8999-48E9-3E07-3EC8DCDD2C16}"/>
                      </a:ext>
                    </a:extLst>
                  </p:cNvPr>
                  <p:cNvSpPr/>
                  <p:nvPr/>
                </p:nvSpPr>
                <p:spPr>
                  <a:xfrm>
                    <a:off x="8217355" y="5015876"/>
                    <a:ext cx="126749" cy="10770"/>
                  </a:xfrm>
                  <a:custGeom>
                    <a:avLst/>
                    <a:gdLst>
                      <a:gd name="connsiteX0" fmla="*/ 126471 w 126749"/>
                      <a:gd name="connsiteY0" fmla="*/ 10770 h 10770"/>
                      <a:gd name="connsiteX1" fmla="*/ 126749 w 126749"/>
                      <a:gd name="connsiteY1" fmla="*/ 0 h 10770"/>
                      <a:gd name="connsiteX2" fmla="*/ 0 w 126749"/>
                      <a:gd name="connsiteY2" fmla="*/ 0 h 10770"/>
                      <a:gd name="connsiteX3" fmla="*/ 670 w 126749"/>
                      <a:gd name="connsiteY3" fmla="*/ 10770 h 10770"/>
                      <a:gd name="connsiteX4" fmla="*/ 126471 w 126749"/>
                      <a:gd name="connsiteY4" fmla="*/ 10770 h 107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6749" h="10770">
                        <a:moveTo>
                          <a:pt x="126471" y="10770"/>
                        </a:moveTo>
                        <a:lnTo>
                          <a:pt x="126749" y="0"/>
                        </a:lnTo>
                        <a:lnTo>
                          <a:pt x="0" y="0"/>
                        </a:lnTo>
                        <a:lnTo>
                          <a:pt x="670" y="10770"/>
                        </a:lnTo>
                        <a:lnTo>
                          <a:pt x="126471" y="10770"/>
                        </a:ln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4" name="Freihandform 393">
                    <a:extLst>
                      <a:ext uri="{FF2B5EF4-FFF2-40B4-BE49-F238E27FC236}">
                        <a16:creationId xmlns:a16="http://schemas.microsoft.com/office/drawing/2014/main" id="{2C6150EE-5AC7-A4F2-550C-228908F1C609}"/>
                      </a:ext>
                    </a:extLst>
                  </p:cNvPr>
                  <p:cNvSpPr/>
                  <p:nvPr/>
                </p:nvSpPr>
                <p:spPr>
                  <a:xfrm>
                    <a:off x="8219819" y="5082632"/>
                    <a:ext cx="103294" cy="10757"/>
                  </a:xfrm>
                  <a:custGeom>
                    <a:avLst/>
                    <a:gdLst>
                      <a:gd name="connsiteX0" fmla="*/ 0 w 103294"/>
                      <a:gd name="connsiteY0" fmla="*/ 0 h 10757"/>
                      <a:gd name="connsiteX1" fmla="*/ 103295 w 103294"/>
                      <a:gd name="connsiteY1" fmla="*/ 0 h 10757"/>
                      <a:gd name="connsiteX2" fmla="*/ 103295 w 103294"/>
                      <a:gd name="connsiteY2" fmla="*/ 10758 h 10757"/>
                      <a:gd name="connsiteX3" fmla="*/ 0 w 103294"/>
                      <a:gd name="connsiteY3" fmla="*/ 10758 h 107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03294" h="10757">
                        <a:moveTo>
                          <a:pt x="0" y="0"/>
                        </a:moveTo>
                        <a:lnTo>
                          <a:pt x="103295" y="0"/>
                        </a:lnTo>
                        <a:lnTo>
                          <a:pt x="103295" y="10758"/>
                        </a:lnTo>
                        <a:lnTo>
                          <a:pt x="0" y="10758"/>
                        </a:ln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95" name="Freihandform 394">
                  <a:extLst>
                    <a:ext uri="{FF2B5EF4-FFF2-40B4-BE49-F238E27FC236}">
                      <a16:creationId xmlns:a16="http://schemas.microsoft.com/office/drawing/2014/main" id="{10A60C38-D1B8-A048-ED61-A7C4A3E8EB5F}"/>
                    </a:ext>
                  </a:extLst>
                </p:cNvPr>
                <p:cNvSpPr/>
                <p:nvPr/>
              </p:nvSpPr>
              <p:spPr>
                <a:xfrm rot="-2621460">
                  <a:off x="8488895" y="4828978"/>
                  <a:ext cx="46049" cy="2502"/>
                </a:xfrm>
                <a:custGeom>
                  <a:avLst/>
                  <a:gdLst>
                    <a:gd name="connsiteX0" fmla="*/ 0 w 46049"/>
                    <a:gd name="connsiteY0" fmla="*/ 0 h 2502"/>
                    <a:gd name="connsiteX1" fmla="*/ 46049 w 46049"/>
                    <a:gd name="connsiteY1" fmla="*/ 0 h 2502"/>
                    <a:gd name="connsiteX2" fmla="*/ 46049 w 46049"/>
                    <a:gd name="connsiteY2" fmla="*/ 2503 h 2502"/>
                    <a:gd name="connsiteX3" fmla="*/ 0 w 46049"/>
                    <a:gd name="connsiteY3" fmla="*/ 2503 h 2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6049" h="2502">
                      <a:moveTo>
                        <a:pt x="0" y="0"/>
                      </a:moveTo>
                      <a:lnTo>
                        <a:pt x="46049" y="0"/>
                      </a:lnTo>
                      <a:lnTo>
                        <a:pt x="46049" y="2503"/>
                      </a:lnTo>
                      <a:lnTo>
                        <a:pt x="0" y="2503"/>
                      </a:ln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96" name="Grafik 5">
              <a:extLst>
                <a:ext uri="{FF2B5EF4-FFF2-40B4-BE49-F238E27FC236}">
                  <a16:creationId xmlns:a16="http://schemas.microsoft.com/office/drawing/2014/main" id="{251F4F41-3C06-59E9-78AE-AC69752D7170}"/>
                </a:ext>
              </a:extLst>
            </p:cNvPr>
            <p:cNvGrpSpPr/>
            <p:nvPr/>
          </p:nvGrpSpPr>
          <p:grpSpPr>
            <a:xfrm>
              <a:off x="8330608" y="4962292"/>
              <a:ext cx="166782" cy="185655"/>
              <a:chOff x="8330608" y="4962292"/>
              <a:chExt cx="166782" cy="185655"/>
            </a:xfrm>
          </p:grpSpPr>
          <p:sp>
            <p:nvSpPr>
              <p:cNvPr id="397" name="Freihandform 396">
                <a:extLst>
                  <a:ext uri="{FF2B5EF4-FFF2-40B4-BE49-F238E27FC236}">
                    <a16:creationId xmlns:a16="http://schemas.microsoft.com/office/drawing/2014/main" id="{345E4EAD-2C0D-DE54-1847-650DD861D9B3}"/>
                  </a:ext>
                </a:extLst>
              </p:cNvPr>
              <p:cNvSpPr/>
              <p:nvPr/>
            </p:nvSpPr>
            <p:spPr>
              <a:xfrm>
                <a:off x="8330608" y="4962292"/>
                <a:ext cx="166782" cy="185655"/>
              </a:xfrm>
              <a:custGeom>
                <a:avLst/>
                <a:gdLst>
                  <a:gd name="connsiteX0" fmla="*/ 83391 w 166782"/>
                  <a:gd name="connsiteY0" fmla="*/ 0 h 185655"/>
                  <a:gd name="connsiteX1" fmla="*/ 130236 w 166782"/>
                  <a:gd name="connsiteY1" fmla="*/ 11301 h 185655"/>
                  <a:gd name="connsiteX2" fmla="*/ 166783 w 166782"/>
                  <a:gd name="connsiteY2" fmla="*/ 20983 h 185655"/>
                  <a:gd name="connsiteX3" fmla="*/ 154285 w 166782"/>
                  <a:gd name="connsiteY3" fmla="*/ 104438 h 185655"/>
                  <a:gd name="connsiteX4" fmla="*/ 83391 w 166782"/>
                  <a:gd name="connsiteY4" fmla="*/ 185656 h 185655"/>
                  <a:gd name="connsiteX5" fmla="*/ 12497 w 166782"/>
                  <a:gd name="connsiteY5" fmla="*/ 104438 h 185655"/>
                  <a:gd name="connsiteX6" fmla="*/ 0 w 166782"/>
                  <a:gd name="connsiteY6" fmla="*/ 20983 h 185655"/>
                  <a:gd name="connsiteX7" fmla="*/ 36546 w 166782"/>
                  <a:gd name="connsiteY7" fmla="*/ 11301 h 185655"/>
                  <a:gd name="connsiteX8" fmla="*/ 83391 w 166782"/>
                  <a:gd name="connsiteY8" fmla="*/ 0 h 185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6782" h="185655">
                    <a:moveTo>
                      <a:pt x="83391" y="0"/>
                    </a:moveTo>
                    <a:cubicBezTo>
                      <a:pt x="88143" y="1011"/>
                      <a:pt x="103421" y="4386"/>
                      <a:pt x="130236" y="11301"/>
                    </a:cubicBezTo>
                    <a:cubicBezTo>
                      <a:pt x="149015" y="16142"/>
                      <a:pt x="160566" y="19264"/>
                      <a:pt x="166783" y="20983"/>
                    </a:cubicBezTo>
                    <a:cubicBezTo>
                      <a:pt x="166530" y="32651"/>
                      <a:pt x="164735" y="61472"/>
                      <a:pt x="154285" y="104438"/>
                    </a:cubicBezTo>
                    <a:cubicBezTo>
                      <a:pt x="144138" y="146203"/>
                      <a:pt x="107515" y="170638"/>
                      <a:pt x="83391" y="185656"/>
                    </a:cubicBezTo>
                    <a:cubicBezTo>
                      <a:pt x="59268" y="170626"/>
                      <a:pt x="22645" y="146191"/>
                      <a:pt x="12497" y="104438"/>
                    </a:cubicBezTo>
                    <a:cubicBezTo>
                      <a:pt x="2059" y="61460"/>
                      <a:pt x="252" y="32639"/>
                      <a:pt x="0" y="20983"/>
                    </a:cubicBezTo>
                    <a:cubicBezTo>
                      <a:pt x="6217" y="19264"/>
                      <a:pt x="17768" y="16142"/>
                      <a:pt x="36546" y="11301"/>
                    </a:cubicBezTo>
                    <a:cubicBezTo>
                      <a:pt x="63374" y="4386"/>
                      <a:pt x="78640" y="1011"/>
                      <a:pt x="83391" y="0"/>
                    </a:cubicBezTo>
                  </a:path>
                </a:pathLst>
              </a:custGeom>
              <a:solidFill>
                <a:srgbClr val="9BBA43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8" name="Freihandform 397">
                <a:extLst>
                  <a:ext uri="{FF2B5EF4-FFF2-40B4-BE49-F238E27FC236}">
                    <a16:creationId xmlns:a16="http://schemas.microsoft.com/office/drawing/2014/main" id="{C38B6D77-1A24-F56A-1C0B-E4DB0AC7C603}"/>
                  </a:ext>
                </a:extLst>
              </p:cNvPr>
              <p:cNvSpPr/>
              <p:nvPr/>
            </p:nvSpPr>
            <p:spPr>
              <a:xfrm>
                <a:off x="8371830" y="5012981"/>
                <a:ext cx="93007" cy="72163"/>
              </a:xfrm>
              <a:custGeom>
                <a:avLst/>
                <a:gdLst>
                  <a:gd name="connsiteX0" fmla="*/ 33235 w 93007"/>
                  <a:gd name="connsiteY0" fmla="*/ 45229 h 72163"/>
                  <a:gd name="connsiteX1" fmla="*/ 34726 w 93007"/>
                  <a:gd name="connsiteY1" fmla="*/ 43800 h 72163"/>
                  <a:gd name="connsiteX2" fmla="*/ 77704 w 93007"/>
                  <a:gd name="connsiteY2" fmla="*/ 784 h 72163"/>
                  <a:gd name="connsiteX3" fmla="*/ 80750 w 93007"/>
                  <a:gd name="connsiteY3" fmla="*/ 733 h 72163"/>
                  <a:gd name="connsiteX4" fmla="*/ 92073 w 93007"/>
                  <a:gd name="connsiteY4" fmla="*/ 11895 h 72163"/>
                  <a:gd name="connsiteX5" fmla="*/ 93007 w 93007"/>
                  <a:gd name="connsiteY5" fmla="*/ 12982 h 72163"/>
                  <a:gd name="connsiteX6" fmla="*/ 91669 w 93007"/>
                  <a:gd name="connsiteY6" fmla="*/ 14449 h 72163"/>
                  <a:gd name="connsiteX7" fmla="*/ 34789 w 93007"/>
                  <a:gd name="connsiteY7" fmla="*/ 71383 h 72163"/>
                  <a:gd name="connsiteX8" fmla="*/ 31630 w 93007"/>
                  <a:gd name="connsiteY8" fmla="*/ 71370 h 72163"/>
                  <a:gd name="connsiteX9" fmla="*/ 884 w 93007"/>
                  <a:gd name="connsiteY9" fmla="*/ 40931 h 72163"/>
                  <a:gd name="connsiteX10" fmla="*/ 834 w 93007"/>
                  <a:gd name="connsiteY10" fmla="*/ 38075 h 72163"/>
                  <a:gd name="connsiteX11" fmla="*/ 12181 w 93007"/>
                  <a:gd name="connsiteY11" fmla="*/ 26938 h 72163"/>
                  <a:gd name="connsiteX12" fmla="*/ 14683 w 93007"/>
                  <a:gd name="connsiteY12" fmla="*/ 27014 h 72163"/>
                  <a:gd name="connsiteX13" fmla="*/ 31718 w 93007"/>
                  <a:gd name="connsiteY13" fmla="*/ 43826 h 72163"/>
                  <a:gd name="connsiteX14" fmla="*/ 33222 w 93007"/>
                  <a:gd name="connsiteY14" fmla="*/ 45242 h 72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3007" h="72163">
                    <a:moveTo>
                      <a:pt x="33235" y="45229"/>
                    </a:moveTo>
                    <a:cubicBezTo>
                      <a:pt x="33803" y="44685"/>
                      <a:pt x="34271" y="44256"/>
                      <a:pt x="34726" y="43800"/>
                    </a:cubicBezTo>
                    <a:cubicBezTo>
                      <a:pt x="49056" y="29466"/>
                      <a:pt x="63374" y="15119"/>
                      <a:pt x="77704" y="784"/>
                    </a:cubicBezTo>
                    <a:cubicBezTo>
                      <a:pt x="78724" y="-244"/>
                      <a:pt x="79739" y="-261"/>
                      <a:pt x="80750" y="733"/>
                    </a:cubicBezTo>
                    <a:cubicBezTo>
                      <a:pt x="84529" y="4450"/>
                      <a:pt x="88307" y="8166"/>
                      <a:pt x="92073" y="11895"/>
                    </a:cubicBezTo>
                    <a:cubicBezTo>
                      <a:pt x="92376" y="12198"/>
                      <a:pt x="92641" y="12540"/>
                      <a:pt x="93007" y="12982"/>
                    </a:cubicBezTo>
                    <a:cubicBezTo>
                      <a:pt x="92540" y="13501"/>
                      <a:pt x="92124" y="13993"/>
                      <a:pt x="91669" y="14449"/>
                    </a:cubicBezTo>
                    <a:cubicBezTo>
                      <a:pt x="72713" y="33435"/>
                      <a:pt x="53758" y="52409"/>
                      <a:pt x="34789" y="71383"/>
                    </a:cubicBezTo>
                    <a:cubicBezTo>
                      <a:pt x="33745" y="72428"/>
                      <a:pt x="32692" y="72424"/>
                      <a:pt x="31630" y="71370"/>
                    </a:cubicBezTo>
                    <a:cubicBezTo>
                      <a:pt x="21381" y="61220"/>
                      <a:pt x="11158" y="51044"/>
                      <a:pt x="884" y="40931"/>
                    </a:cubicBezTo>
                    <a:cubicBezTo>
                      <a:pt x="-215" y="39857"/>
                      <a:pt x="-354" y="39199"/>
                      <a:pt x="834" y="38075"/>
                    </a:cubicBezTo>
                    <a:cubicBezTo>
                      <a:pt x="4675" y="34434"/>
                      <a:pt x="8454" y="30705"/>
                      <a:pt x="12181" y="26938"/>
                    </a:cubicBezTo>
                    <a:cubicBezTo>
                      <a:pt x="13180" y="25926"/>
                      <a:pt x="13774" y="26103"/>
                      <a:pt x="14683" y="27014"/>
                    </a:cubicBezTo>
                    <a:cubicBezTo>
                      <a:pt x="20332" y="32651"/>
                      <a:pt x="26032" y="38226"/>
                      <a:pt x="31718" y="43826"/>
                    </a:cubicBezTo>
                    <a:cubicBezTo>
                      <a:pt x="32173" y="44281"/>
                      <a:pt x="32654" y="44711"/>
                      <a:pt x="33222" y="452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99" name="Grafik 5">
            <a:extLst>
              <a:ext uri="{FF2B5EF4-FFF2-40B4-BE49-F238E27FC236}">
                <a16:creationId xmlns:a16="http://schemas.microsoft.com/office/drawing/2014/main" id="{BB3A7A87-0637-DD62-CEC5-464353F9A6E2}"/>
              </a:ext>
            </a:extLst>
          </p:cNvPr>
          <p:cNvGrpSpPr/>
          <p:nvPr/>
        </p:nvGrpSpPr>
        <p:grpSpPr>
          <a:xfrm>
            <a:off x="8053706" y="5577520"/>
            <a:ext cx="371721" cy="240605"/>
            <a:chOff x="8053706" y="5577520"/>
            <a:chExt cx="371721" cy="240605"/>
          </a:xfrm>
        </p:grpSpPr>
        <p:sp>
          <p:nvSpPr>
            <p:cNvPr id="400" name="Freihandform 399">
              <a:extLst>
                <a:ext uri="{FF2B5EF4-FFF2-40B4-BE49-F238E27FC236}">
                  <a16:creationId xmlns:a16="http://schemas.microsoft.com/office/drawing/2014/main" id="{D2BE8BA5-D298-4CE8-9ACC-C8FA75012C8A}"/>
                </a:ext>
              </a:extLst>
            </p:cNvPr>
            <p:cNvSpPr/>
            <p:nvPr/>
          </p:nvSpPr>
          <p:spPr>
            <a:xfrm>
              <a:off x="8105529" y="5788117"/>
              <a:ext cx="319899" cy="30009"/>
            </a:xfrm>
            <a:custGeom>
              <a:avLst/>
              <a:gdLst>
                <a:gd name="connsiteX0" fmla="*/ 288643 w 319899"/>
                <a:gd name="connsiteY0" fmla="*/ 0 h 30009"/>
                <a:gd name="connsiteX1" fmla="*/ 31240 w 319899"/>
                <a:gd name="connsiteY1" fmla="*/ 0 h 30009"/>
                <a:gd name="connsiteX2" fmla="*/ 13675 w 319899"/>
                <a:gd name="connsiteY2" fmla="*/ 7104 h 30009"/>
                <a:gd name="connsiteX3" fmla="*/ 2301 w 319899"/>
                <a:gd name="connsiteY3" fmla="*/ 16951 h 30009"/>
                <a:gd name="connsiteX4" fmla="*/ 4449 w 319899"/>
                <a:gd name="connsiteY4" fmla="*/ 30009 h 30009"/>
                <a:gd name="connsiteX5" fmla="*/ 315446 w 319899"/>
                <a:gd name="connsiteY5" fmla="*/ 30009 h 30009"/>
                <a:gd name="connsiteX6" fmla="*/ 317594 w 319899"/>
                <a:gd name="connsiteY6" fmla="*/ 16951 h 30009"/>
                <a:gd name="connsiteX7" fmla="*/ 306221 w 319899"/>
                <a:gd name="connsiteY7" fmla="*/ 7104 h 30009"/>
                <a:gd name="connsiteX8" fmla="*/ 288656 w 319899"/>
                <a:gd name="connsiteY8" fmla="*/ 0 h 3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899" h="30009">
                  <a:moveTo>
                    <a:pt x="288643" y="0"/>
                  </a:moveTo>
                  <a:lnTo>
                    <a:pt x="31240" y="0"/>
                  </a:lnTo>
                  <a:cubicBezTo>
                    <a:pt x="25099" y="0"/>
                    <a:pt x="19045" y="2440"/>
                    <a:pt x="13675" y="7104"/>
                  </a:cubicBezTo>
                  <a:lnTo>
                    <a:pt x="2301" y="16951"/>
                  </a:lnTo>
                  <a:cubicBezTo>
                    <a:pt x="-1717" y="20428"/>
                    <a:pt x="-138" y="30009"/>
                    <a:pt x="4449" y="30009"/>
                  </a:cubicBezTo>
                  <a:lnTo>
                    <a:pt x="315446" y="30009"/>
                  </a:lnTo>
                  <a:cubicBezTo>
                    <a:pt x="320045" y="30009"/>
                    <a:pt x="321613" y="20428"/>
                    <a:pt x="317594" y="16951"/>
                  </a:cubicBezTo>
                  <a:lnTo>
                    <a:pt x="306221" y="7104"/>
                  </a:lnTo>
                  <a:cubicBezTo>
                    <a:pt x="300838" y="2452"/>
                    <a:pt x="294797" y="0"/>
                    <a:pt x="288656" y="0"/>
                  </a:cubicBezTo>
                  <a:close/>
                </a:path>
              </a:pathLst>
            </a:custGeom>
            <a:solidFill>
              <a:srgbClr val="0A827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01" name="Grafik 5">
              <a:extLst>
                <a:ext uri="{FF2B5EF4-FFF2-40B4-BE49-F238E27FC236}">
                  <a16:creationId xmlns:a16="http://schemas.microsoft.com/office/drawing/2014/main" id="{F37988F9-4929-242E-ADCD-7C99931559E9}"/>
                </a:ext>
              </a:extLst>
            </p:cNvPr>
            <p:cNvGrpSpPr/>
            <p:nvPr/>
          </p:nvGrpSpPr>
          <p:grpSpPr>
            <a:xfrm>
              <a:off x="8053706" y="5577520"/>
              <a:ext cx="323898" cy="222680"/>
              <a:chOff x="8053706" y="5577520"/>
              <a:chExt cx="323898" cy="222680"/>
            </a:xfrm>
          </p:grpSpPr>
          <p:grpSp>
            <p:nvGrpSpPr>
              <p:cNvPr id="402" name="Grafik 5">
                <a:extLst>
                  <a:ext uri="{FF2B5EF4-FFF2-40B4-BE49-F238E27FC236}">
                    <a16:creationId xmlns:a16="http://schemas.microsoft.com/office/drawing/2014/main" id="{0203639B-D7BD-E59B-596A-341E32128DC1}"/>
                  </a:ext>
                </a:extLst>
              </p:cNvPr>
              <p:cNvGrpSpPr/>
              <p:nvPr/>
            </p:nvGrpSpPr>
            <p:grpSpPr>
              <a:xfrm>
                <a:off x="8053706" y="5670089"/>
                <a:ext cx="74242" cy="37555"/>
                <a:chOff x="8053706" y="5670089"/>
                <a:chExt cx="74242" cy="37555"/>
              </a:xfrm>
            </p:grpSpPr>
            <p:sp>
              <p:nvSpPr>
                <p:cNvPr id="403" name="Freihandform 402">
                  <a:extLst>
                    <a:ext uri="{FF2B5EF4-FFF2-40B4-BE49-F238E27FC236}">
                      <a16:creationId xmlns:a16="http://schemas.microsoft.com/office/drawing/2014/main" id="{7455F0B4-2378-81B1-9C22-3F3AE67BE958}"/>
                    </a:ext>
                  </a:extLst>
                </p:cNvPr>
                <p:cNvSpPr/>
                <p:nvPr/>
              </p:nvSpPr>
              <p:spPr>
                <a:xfrm>
                  <a:off x="8053706" y="5670089"/>
                  <a:ext cx="74242" cy="37555"/>
                </a:xfrm>
                <a:custGeom>
                  <a:avLst/>
                  <a:gdLst>
                    <a:gd name="connsiteX0" fmla="*/ 0 w 74242"/>
                    <a:gd name="connsiteY0" fmla="*/ 0 h 37555"/>
                    <a:gd name="connsiteX1" fmla="*/ 74242 w 74242"/>
                    <a:gd name="connsiteY1" fmla="*/ 0 h 37555"/>
                    <a:gd name="connsiteX2" fmla="*/ 74242 w 74242"/>
                    <a:gd name="connsiteY2" fmla="*/ 37556 h 37555"/>
                    <a:gd name="connsiteX3" fmla="*/ 0 w 74242"/>
                    <a:gd name="connsiteY3" fmla="*/ 37556 h 37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242" h="37555">
                      <a:moveTo>
                        <a:pt x="0" y="0"/>
                      </a:moveTo>
                      <a:lnTo>
                        <a:pt x="74242" y="0"/>
                      </a:lnTo>
                      <a:lnTo>
                        <a:pt x="74242" y="37556"/>
                      </a:lnTo>
                      <a:lnTo>
                        <a:pt x="0" y="3755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4" name="Freihandform 403">
                  <a:extLst>
                    <a:ext uri="{FF2B5EF4-FFF2-40B4-BE49-F238E27FC236}">
                      <a16:creationId xmlns:a16="http://schemas.microsoft.com/office/drawing/2014/main" id="{0AB8DBFA-8F2A-3AB4-C2F0-57C3851E24CD}"/>
                    </a:ext>
                  </a:extLst>
                </p:cNvPr>
                <p:cNvSpPr/>
                <p:nvPr/>
              </p:nvSpPr>
              <p:spPr>
                <a:xfrm>
                  <a:off x="8053706" y="5692160"/>
                  <a:ext cx="53757" cy="15485"/>
                </a:xfrm>
                <a:custGeom>
                  <a:avLst/>
                  <a:gdLst>
                    <a:gd name="connsiteX0" fmla="*/ 0 w 53757"/>
                    <a:gd name="connsiteY0" fmla="*/ 0 h 15485"/>
                    <a:gd name="connsiteX1" fmla="*/ 53758 w 53757"/>
                    <a:gd name="connsiteY1" fmla="*/ 0 h 15485"/>
                    <a:gd name="connsiteX2" fmla="*/ 53758 w 53757"/>
                    <a:gd name="connsiteY2" fmla="*/ 15485 h 15485"/>
                    <a:gd name="connsiteX3" fmla="*/ 0 w 53757"/>
                    <a:gd name="connsiteY3" fmla="*/ 15485 h 154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3757" h="15485">
                      <a:moveTo>
                        <a:pt x="0" y="0"/>
                      </a:moveTo>
                      <a:lnTo>
                        <a:pt x="53758" y="0"/>
                      </a:lnTo>
                      <a:lnTo>
                        <a:pt x="53758" y="15485"/>
                      </a:lnTo>
                      <a:lnTo>
                        <a:pt x="0" y="15485"/>
                      </a:ln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05" name="Freihandform 404">
                <a:extLst>
                  <a:ext uri="{FF2B5EF4-FFF2-40B4-BE49-F238E27FC236}">
                    <a16:creationId xmlns:a16="http://schemas.microsoft.com/office/drawing/2014/main" id="{640A66E0-C9E5-6442-0A5C-5AD2B84B6EA9}"/>
                  </a:ext>
                </a:extLst>
              </p:cNvPr>
              <p:cNvSpPr/>
              <p:nvPr/>
            </p:nvSpPr>
            <p:spPr>
              <a:xfrm>
                <a:off x="8107464" y="5654983"/>
                <a:ext cx="20484" cy="67034"/>
              </a:xfrm>
              <a:custGeom>
                <a:avLst/>
                <a:gdLst>
                  <a:gd name="connsiteX0" fmla="*/ 0 w 20484"/>
                  <a:gd name="connsiteY0" fmla="*/ 0 h 67034"/>
                  <a:gd name="connsiteX1" fmla="*/ 20484 w 20484"/>
                  <a:gd name="connsiteY1" fmla="*/ 0 h 67034"/>
                  <a:gd name="connsiteX2" fmla="*/ 20484 w 20484"/>
                  <a:gd name="connsiteY2" fmla="*/ 67034 h 67034"/>
                  <a:gd name="connsiteX3" fmla="*/ 0 w 20484"/>
                  <a:gd name="connsiteY3" fmla="*/ 67034 h 6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484" h="67034">
                    <a:moveTo>
                      <a:pt x="0" y="0"/>
                    </a:moveTo>
                    <a:lnTo>
                      <a:pt x="20484" y="0"/>
                    </a:lnTo>
                    <a:lnTo>
                      <a:pt x="20484" y="67034"/>
                    </a:lnTo>
                    <a:lnTo>
                      <a:pt x="0" y="67034"/>
                    </a:lnTo>
                    <a:close/>
                  </a:path>
                </a:pathLst>
              </a:custGeom>
              <a:solidFill>
                <a:srgbClr val="DFF4F3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6" name="Freihandform 405">
                <a:extLst>
                  <a:ext uri="{FF2B5EF4-FFF2-40B4-BE49-F238E27FC236}">
                    <a16:creationId xmlns:a16="http://schemas.microsoft.com/office/drawing/2014/main" id="{354311B9-7AAD-9A28-FFD5-1C3A7CDA8543}"/>
                  </a:ext>
                </a:extLst>
              </p:cNvPr>
              <p:cNvSpPr/>
              <p:nvPr/>
            </p:nvSpPr>
            <p:spPr>
              <a:xfrm>
                <a:off x="8127948" y="5610336"/>
                <a:ext cx="37746" cy="157036"/>
              </a:xfrm>
              <a:custGeom>
                <a:avLst/>
                <a:gdLst>
                  <a:gd name="connsiteX0" fmla="*/ 20662 w 37746"/>
                  <a:gd name="connsiteY0" fmla="*/ 13 h 157036"/>
                  <a:gd name="connsiteX1" fmla="*/ 0 w 37746"/>
                  <a:gd name="connsiteY1" fmla="*/ 20680 h 157036"/>
                  <a:gd name="connsiteX2" fmla="*/ 0 w 37746"/>
                  <a:gd name="connsiteY2" fmla="*/ 136369 h 157036"/>
                  <a:gd name="connsiteX3" fmla="*/ 20662 w 37746"/>
                  <a:gd name="connsiteY3" fmla="*/ 157037 h 157036"/>
                  <a:gd name="connsiteX4" fmla="*/ 37747 w 37746"/>
                  <a:gd name="connsiteY4" fmla="*/ 157037 h 157036"/>
                  <a:gd name="connsiteX5" fmla="*/ 37747 w 37746"/>
                  <a:gd name="connsiteY5" fmla="*/ 0 h 157036"/>
                  <a:gd name="connsiteX6" fmla="*/ 20662 w 37746"/>
                  <a:gd name="connsiteY6" fmla="*/ 0 h 157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746" h="157036">
                    <a:moveTo>
                      <a:pt x="20662" y="13"/>
                    </a:moveTo>
                    <a:cubicBezTo>
                      <a:pt x="9251" y="13"/>
                      <a:pt x="0" y="9266"/>
                      <a:pt x="0" y="20680"/>
                    </a:cubicBezTo>
                    <a:lnTo>
                      <a:pt x="0" y="136369"/>
                    </a:lnTo>
                    <a:cubicBezTo>
                      <a:pt x="0" y="147784"/>
                      <a:pt x="9251" y="157037"/>
                      <a:pt x="20662" y="157037"/>
                    </a:cubicBezTo>
                    <a:lnTo>
                      <a:pt x="37747" y="157037"/>
                    </a:lnTo>
                    <a:lnTo>
                      <a:pt x="37747" y="0"/>
                    </a:lnTo>
                    <a:lnTo>
                      <a:pt x="20662" y="0"/>
                    </a:lnTo>
                    <a:close/>
                  </a:path>
                </a:pathLst>
              </a:custGeom>
              <a:solidFill>
                <a:srgbClr val="08665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07" name="Grafik 5">
                <a:extLst>
                  <a:ext uri="{FF2B5EF4-FFF2-40B4-BE49-F238E27FC236}">
                    <a16:creationId xmlns:a16="http://schemas.microsoft.com/office/drawing/2014/main" id="{056F63B8-8908-1473-A9CE-A3A8A2B4F898}"/>
                  </a:ext>
                </a:extLst>
              </p:cNvPr>
              <p:cNvGrpSpPr/>
              <p:nvPr/>
            </p:nvGrpSpPr>
            <p:grpSpPr>
              <a:xfrm>
                <a:off x="8165695" y="5577520"/>
                <a:ext cx="211910" cy="222680"/>
                <a:chOff x="8165695" y="5577520"/>
                <a:chExt cx="211910" cy="222680"/>
              </a:xfrm>
            </p:grpSpPr>
            <p:sp>
              <p:nvSpPr>
                <p:cNvPr id="408" name="Freihandform 407">
                  <a:extLst>
                    <a:ext uri="{FF2B5EF4-FFF2-40B4-BE49-F238E27FC236}">
                      <a16:creationId xmlns:a16="http://schemas.microsoft.com/office/drawing/2014/main" id="{DEE2E5AE-39BE-D8CE-BA8F-66FD380FADE5}"/>
                    </a:ext>
                  </a:extLst>
                </p:cNvPr>
                <p:cNvSpPr/>
                <p:nvPr/>
              </p:nvSpPr>
              <p:spPr>
                <a:xfrm>
                  <a:off x="8165695" y="5577520"/>
                  <a:ext cx="53542" cy="156986"/>
                </a:xfrm>
                <a:custGeom>
                  <a:avLst/>
                  <a:gdLst>
                    <a:gd name="connsiteX0" fmla="*/ 53543 w 53542"/>
                    <a:gd name="connsiteY0" fmla="*/ 13 h 156986"/>
                    <a:gd name="connsiteX1" fmla="*/ 29306 w 53542"/>
                    <a:gd name="connsiteY1" fmla="*/ 13 h 156986"/>
                    <a:gd name="connsiteX2" fmla="*/ 0 w 53542"/>
                    <a:gd name="connsiteY2" fmla="*/ 30452 h 156986"/>
                    <a:gd name="connsiteX3" fmla="*/ 0 w 53542"/>
                    <a:gd name="connsiteY3" fmla="*/ 156986 h 156986"/>
                    <a:gd name="connsiteX4" fmla="*/ 53543 w 53542"/>
                    <a:gd name="connsiteY4" fmla="*/ 156986 h 156986"/>
                    <a:gd name="connsiteX5" fmla="*/ 53543 w 53542"/>
                    <a:gd name="connsiteY5" fmla="*/ 0 h 1569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3542" h="156986">
                      <a:moveTo>
                        <a:pt x="53543" y="13"/>
                      </a:moveTo>
                      <a:lnTo>
                        <a:pt x="29306" y="13"/>
                      </a:lnTo>
                      <a:cubicBezTo>
                        <a:pt x="13118" y="13"/>
                        <a:pt x="0" y="13640"/>
                        <a:pt x="0" y="30452"/>
                      </a:cubicBezTo>
                      <a:lnTo>
                        <a:pt x="0" y="156986"/>
                      </a:lnTo>
                      <a:cubicBezTo>
                        <a:pt x="0" y="156986"/>
                        <a:pt x="53543" y="156986"/>
                        <a:pt x="53543" y="156986"/>
                      </a:cubicBezTo>
                      <a:lnTo>
                        <a:pt x="53543" y="0"/>
                      </a:ln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9" name="Freihandform 408">
                  <a:extLst>
                    <a:ext uri="{FF2B5EF4-FFF2-40B4-BE49-F238E27FC236}">
                      <a16:creationId xmlns:a16="http://schemas.microsoft.com/office/drawing/2014/main" id="{34B60E64-A93F-CC70-9582-635491B7296B}"/>
                    </a:ext>
                  </a:extLst>
                </p:cNvPr>
                <p:cNvSpPr/>
                <p:nvPr/>
              </p:nvSpPr>
              <p:spPr>
                <a:xfrm>
                  <a:off x="8219251" y="5577533"/>
                  <a:ext cx="158354" cy="222667"/>
                </a:xfrm>
                <a:custGeom>
                  <a:avLst/>
                  <a:gdLst>
                    <a:gd name="connsiteX0" fmla="*/ 129049 w 158354"/>
                    <a:gd name="connsiteY0" fmla="*/ 0 h 222667"/>
                    <a:gd name="connsiteX1" fmla="*/ 0 w 158354"/>
                    <a:gd name="connsiteY1" fmla="*/ 0 h 222667"/>
                    <a:gd name="connsiteX2" fmla="*/ 0 w 158354"/>
                    <a:gd name="connsiteY2" fmla="*/ 222668 h 222667"/>
                    <a:gd name="connsiteX3" fmla="*/ 158354 w 158354"/>
                    <a:gd name="connsiteY3" fmla="*/ 222668 h 222667"/>
                    <a:gd name="connsiteX4" fmla="*/ 158354 w 158354"/>
                    <a:gd name="connsiteY4" fmla="*/ 156974 h 222667"/>
                    <a:gd name="connsiteX5" fmla="*/ 158354 w 158354"/>
                    <a:gd name="connsiteY5" fmla="*/ 156974 h 222667"/>
                    <a:gd name="connsiteX6" fmla="*/ 158354 w 158354"/>
                    <a:gd name="connsiteY6" fmla="*/ 30439 h 222667"/>
                    <a:gd name="connsiteX7" fmla="*/ 129049 w 158354"/>
                    <a:gd name="connsiteY7" fmla="*/ 0 h 2226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8354" h="222667">
                      <a:moveTo>
                        <a:pt x="129049" y="0"/>
                      </a:moveTo>
                      <a:lnTo>
                        <a:pt x="0" y="0"/>
                      </a:lnTo>
                      <a:lnTo>
                        <a:pt x="0" y="222668"/>
                      </a:lnTo>
                      <a:lnTo>
                        <a:pt x="158354" y="222668"/>
                      </a:lnTo>
                      <a:lnTo>
                        <a:pt x="158354" y="156974"/>
                      </a:lnTo>
                      <a:lnTo>
                        <a:pt x="158354" y="156974"/>
                      </a:lnTo>
                      <a:lnTo>
                        <a:pt x="158354" y="30439"/>
                      </a:lnTo>
                      <a:cubicBezTo>
                        <a:pt x="158354" y="13627"/>
                        <a:pt x="145237" y="0"/>
                        <a:pt x="129049" y="0"/>
                      </a:cubicBezTo>
                      <a:close/>
                    </a:path>
                  </a:pathLst>
                </a:custGeom>
                <a:solidFill>
                  <a:srgbClr val="DFF4F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0" name="Freihandform 409">
                  <a:extLst>
                    <a:ext uri="{FF2B5EF4-FFF2-40B4-BE49-F238E27FC236}">
                      <a16:creationId xmlns:a16="http://schemas.microsoft.com/office/drawing/2014/main" id="{3FA3CC5E-6F7C-A417-71D5-68344C233A05}"/>
                    </a:ext>
                  </a:extLst>
                </p:cNvPr>
                <p:cNvSpPr/>
                <p:nvPr/>
              </p:nvSpPr>
              <p:spPr>
                <a:xfrm>
                  <a:off x="8165708" y="5734507"/>
                  <a:ext cx="53542" cy="65694"/>
                </a:xfrm>
                <a:custGeom>
                  <a:avLst/>
                  <a:gdLst>
                    <a:gd name="connsiteX0" fmla="*/ 0 w 53542"/>
                    <a:gd name="connsiteY0" fmla="*/ 0 h 65694"/>
                    <a:gd name="connsiteX1" fmla="*/ 53543 w 53542"/>
                    <a:gd name="connsiteY1" fmla="*/ 0 h 65694"/>
                    <a:gd name="connsiteX2" fmla="*/ 53543 w 53542"/>
                    <a:gd name="connsiteY2" fmla="*/ 65694 h 65694"/>
                    <a:gd name="connsiteX3" fmla="*/ 0 w 53542"/>
                    <a:gd name="connsiteY3" fmla="*/ 65694 h 65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3542" h="65694">
                      <a:moveTo>
                        <a:pt x="0" y="0"/>
                      </a:moveTo>
                      <a:lnTo>
                        <a:pt x="53543" y="0"/>
                      </a:lnTo>
                      <a:lnTo>
                        <a:pt x="53543" y="65694"/>
                      </a:lnTo>
                      <a:lnTo>
                        <a:pt x="0" y="65694"/>
                      </a:lnTo>
                      <a:close/>
                    </a:path>
                  </a:pathLst>
                </a:custGeom>
                <a:solidFill>
                  <a:srgbClr val="3B9B9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1" name="Freihandform 410">
                  <a:extLst>
                    <a:ext uri="{FF2B5EF4-FFF2-40B4-BE49-F238E27FC236}">
                      <a16:creationId xmlns:a16="http://schemas.microsoft.com/office/drawing/2014/main" id="{9A07DE82-CB25-4CFA-F4C8-A26DC1D210CB}"/>
                    </a:ext>
                  </a:extLst>
                </p:cNvPr>
                <p:cNvSpPr/>
                <p:nvPr/>
              </p:nvSpPr>
              <p:spPr>
                <a:xfrm>
                  <a:off x="8219238" y="5734507"/>
                  <a:ext cx="158367" cy="65694"/>
                </a:xfrm>
                <a:custGeom>
                  <a:avLst/>
                  <a:gdLst>
                    <a:gd name="connsiteX0" fmla="*/ 104824 w 158367"/>
                    <a:gd name="connsiteY0" fmla="*/ 0 h 65694"/>
                    <a:gd name="connsiteX1" fmla="*/ 0 w 158367"/>
                    <a:gd name="connsiteY1" fmla="*/ 0 h 65694"/>
                    <a:gd name="connsiteX2" fmla="*/ 0 w 158367"/>
                    <a:gd name="connsiteY2" fmla="*/ 65694 h 65694"/>
                    <a:gd name="connsiteX3" fmla="*/ 104824 w 158367"/>
                    <a:gd name="connsiteY3" fmla="*/ 65694 h 65694"/>
                    <a:gd name="connsiteX4" fmla="*/ 158367 w 158367"/>
                    <a:gd name="connsiteY4" fmla="*/ 65694 h 65694"/>
                    <a:gd name="connsiteX5" fmla="*/ 158367 w 158367"/>
                    <a:gd name="connsiteY5" fmla="*/ 0 h 65694"/>
                    <a:gd name="connsiteX6" fmla="*/ 104824 w 158367"/>
                    <a:gd name="connsiteY6" fmla="*/ 0 h 65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8367" h="65694">
                      <a:moveTo>
                        <a:pt x="104824" y="0"/>
                      </a:moveTo>
                      <a:lnTo>
                        <a:pt x="0" y="0"/>
                      </a:lnTo>
                      <a:lnTo>
                        <a:pt x="0" y="65694"/>
                      </a:lnTo>
                      <a:lnTo>
                        <a:pt x="104824" y="65694"/>
                      </a:lnTo>
                      <a:lnTo>
                        <a:pt x="158367" y="65694"/>
                      </a:lnTo>
                      <a:lnTo>
                        <a:pt x="158367" y="0"/>
                      </a:lnTo>
                      <a:lnTo>
                        <a:pt x="104824" y="0"/>
                      </a:ln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12" name="Grafik 5">
            <a:extLst>
              <a:ext uri="{FF2B5EF4-FFF2-40B4-BE49-F238E27FC236}">
                <a16:creationId xmlns:a16="http://schemas.microsoft.com/office/drawing/2014/main" id="{2592CE91-F0AE-4D39-0A35-B3D8DC9C7DF2}"/>
              </a:ext>
            </a:extLst>
          </p:cNvPr>
          <p:cNvGrpSpPr/>
          <p:nvPr/>
        </p:nvGrpSpPr>
        <p:grpSpPr>
          <a:xfrm>
            <a:off x="7999632" y="5910669"/>
            <a:ext cx="541962" cy="362791"/>
            <a:chOff x="7999632" y="5910669"/>
            <a:chExt cx="541962" cy="362791"/>
          </a:xfrm>
        </p:grpSpPr>
        <p:sp>
          <p:nvSpPr>
            <p:cNvPr id="413" name="Freihandform 412">
              <a:extLst>
                <a:ext uri="{FF2B5EF4-FFF2-40B4-BE49-F238E27FC236}">
                  <a16:creationId xmlns:a16="http://schemas.microsoft.com/office/drawing/2014/main" id="{CADA5AF3-3C1D-7264-F11D-A73511E7D21F}"/>
                </a:ext>
              </a:extLst>
            </p:cNvPr>
            <p:cNvSpPr/>
            <p:nvPr/>
          </p:nvSpPr>
          <p:spPr>
            <a:xfrm>
              <a:off x="8066423" y="6243452"/>
              <a:ext cx="408318" cy="30009"/>
            </a:xfrm>
            <a:custGeom>
              <a:avLst/>
              <a:gdLst>
                <a:gd name="connsiteX0" fmla="*/ 368427 w 408318"/>
                <a:gd name="connsiteY0" fmla="*/ 0 h 30009"/>
                <a:gd name="connsiteX1" fmla="*/ 39891 w 408318"/>
                <a:gd name="connsiteY1" fmla="*/ 0 h 30009"/>
                <a:gd name="connsiteX2" fmla="*/ 17460 w 408318"/>
                <a:gd name="connsiteY2" fmla="*/ 7104 h 30009"/>
                <a:gd name="connsiteX3" fmla="*/ 2940 w 408318"/>
                <a:gd name="connsiteY3" fmla="*/ 16951 h 30009"/>
                <a:gd name="connsiteX4" fmla="*/ 5683 w 408318"/>
                <a:gd name="connsiteY4" fmla="*/ 30009 h 30009"/>
                <a:gd name="connsiteX5" fmla="*/ 402636 w 408318"/>
                <a:gd name="connsiteY5" fmla="*/ 30009 h 30009"/>
                <a:gd name="connsiteX6" fmla="*/ 405378 w 408318"/>
                <a:gd name="connsiteY6" fmla="*/ 16951 h 30009"/>
                <a:gd name="connsiteX7" fmla="*/ 390858 w 408318"/>
                <a:gd name="connsiteY7" fmla="*/ 7104 h 30009"/>
                <a:gd name="connsiteX8" fmla="*/ 368427 w 408318"/>
                <a:gd name="connsiteY8" fmla="*/ 0 h 3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8318" h="30009">
                  <a:moveTo>
                    <a:pt x="368427" y="0"/>
                  </a:moveTo>
                  <a:lnTo>
                    <a:pt x="39891" y="0"/>
                  </a:lnTo>
                  <a:cubicBezTo>
                    <a:pt x="32044" y="0"/>
                    <a:pt x="24335" y="2440"/>
                    <a:pt x="17460" y="7104"/>
                  </a:cubicBezTo>
                  <a:lnTo>
                    <a:pt x="2940" y="16951"/>
                  </a:lnTo>
                  <a:cubicBezTo>
                    <a:pt x="-2190" y="20428"/>
                    <a:pt x="-181" y="30009"/>
                    <a:pt x="5683" y="30009"/>
                  </a:cubicBezTo>
                  <a:lnTo>
                    <a:pt x="402636" y="30009"/>
                  </a:lnTo>
                  <a:cubicBezTo>
                    <a:pt x="408499" y="30009"/>
                    <a:pt x="410509" y="20428"/>
                    <a:pt x="405378" y="16951"/>
                  </a:cubicBezTo>
                  <a:lnTo>
                    <a:pt x="390858" y="7104"/>
                  </a:lnTo>
                  <a:cubicBezTo>
                    <a:pt x="383996" y="2452"/>
                    <a:pt x="376275" y="0"/>
                    <a:pt x="368427" y="0"/>
                  </a:cubicBezTo>
                  <a:close/>
                </a:path>
              </a:pathLst>
            </a:custGeom>
            <a:solidFill>
              <a:srgbClr val="0A827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14" name="Grafik 5">
              <a:extLst>
                <a:ext uri="{FF2B5EF4-FFF2-40B4-BE49-F238E27FC236}">
                  <a16:creationId xmlns:a16="http://schemas.microsoft.com/office/drawing/2014/main" id="{C7DE5922-4EC1-9D89-067E-0606BB0B8F0E}"/>
                </a:ext>
              </a:extLst>
            </p:cNvPr>
            <p:cNvGrpSpPr/>
            <p:nvPr/>
          </p:nvGrpSpPr>
          <p:grpSpPr>
            <a:xfrm>
              <a:off x="7999632" y="5965745"/>
              <a:ext cx="447589" cy="289790"/>
              <a:chOff x="7999632" y="5965745"/>
              <a:chExt cx="447589" cy="289790"/>
            </a:xfrm>
          </p:grpSpPr>
          <p:grpSp>
            <p:nvGrpSpPr>
              <p:cNvPr id="415" name="Grafik 5">
                <a:extLst>
                  <a:ext uri="{FF2B5EF4-FFF2-40B4-BE49-F238E27FC236}">
                    <a16:creationId xmlns:a16="http://schemas.microsoft.com/office/drawing/2014/main" id="{1D107615-DC67-0EAE-84FB-0D8DB70BEE5D}"/>
                  </a:ext>
                </a:extLst>
              </p:cNvPr>
              <p:cNvGrpSpPr/>
              <p:nvPr/>
            </p:nvGrpSpPr>
            <p:grpSpPr>
              <a:xfrm>
                <a:off x="7999632" y="5965745"/>
                <a:ext cx="447589" cy="289790"/>
                <a:chOff x="7999632" y="5965745"/>
                <a:chExt cx="447589" cy="289790"/>
              </a:xfrm>
            </p:grpSpPr>
            <p:grpSp>
              <p:nvGrpSpPr>
                <p:cNvPr id="416" name="Grafik 5">
                  <a:extLst>
                    <a:ext uri="{FF2B5EF4-FFF2-40B4-BE49-F238E27FC236}">
                      <a16:creationId xmlns:a16="http://schemas.microsoft.com/office/drawing/2014/main" id="{AF5AA6FF-7306-E342-B898-EC2350A68796}"/>
                    </a:ext>
                  </a:extLst>
                </p:cNvPr>
                <p:cNvGrpSpPr/>
                <p:nvPr/>
              </p:nvGrpSpPr>
              <p:grpSpPr>
                <a:xfrm>
                  <a:off x="8189074" y="5965745"/>
                  <a:ext cx="102700" cy="76742"/>
                  <a:chOff x="8189074" y="5965745"/>
                  <a:chExt cx="102700" cy="76742"/>
                </a:xfrm>
              </p:grpSpPr>
              <p:sp>
                <p:nvSpPr>
                  <p:cNvPr id="417" name="Freihandform 416">
                    <a:extLst>
                      <a:ext uri="{FF2B5EF4-FFF2-40B4-BE49-F238E27FC236}">
                        <a16:creationId xmlns:a16="http://schemas.microsoft.com/office/drawing/2014/main" id="{1A30606D-5151-6C2E-7A15-6E2D2E64DD97}"/>
                      </a:ext>
                    </a:extLst>
                  </p:cNvPr>
                  <p:cNvSpPr/>
                  <p:nvPr/>
                </p:nvSpPr>
                <p:spPr>
                  <a:xfrm>
                    <a:off x="8195531" y="5992746"/>
                    <a:ext cx="89735" cy="49741"/>
                  </a:xfrm>
                  <a:custGeom>
                    <a:avLst/>
                    <a:gdLst>
                      <a:gd name="connsiteX0" fmla="*/ 0 w 89735"/>
                      <a:gd name="connsiteY0" fmla="*/ 0 h 49741"/>
                      <a:gd name="connsiteX1" fmla="*/ 89735 w 89735"/>
                      <a:gd name="connsiteY1" fmla="*/ 0 h 49741"/>
                      <a:gd name="connsiteX2" fmla="*/ 89735 w 89735"/>
                      <a:gd name="connsiteY2" fmla="*/ 49741 h 49741"/>
                      <a:gd name="connsiteX3" fmla="*/ 0 w 89735"/>
                      <a:gd name="connsiteY3" fmla="*/ 49741 h 497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735" h="49741">
                        <a:moveTo>
                          <a:pt x="0" y="0"/>
                        </a:moveTo>
                        <a:lnTo>
                          <a:pt x="89735" y="0"/>
                        </a:lnTo>
                        <a:lnTo>
                          <a:pt x="89735" y="49741"/>
                        </a:lnTo>
                        <a:lnTo>
                          <a:pt x="0" y="49741"/>
                        </a:ln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18" name="Freihandform 417">
                    <a:extLst>
                      <a:ext uri="{FF2B5EF4-FFF2-40B4-BE49-F238E27FC236}">
                        <a16:creationId xmlns:a16="http://schemas.microsoft.com/office/drawing/2014/main" id="{B8D8EA82-1F41-F65E-BDA8-B843FAD6EAFD}"/>
                      </a:ext>
                    </a:extLst>
                  </p:cNvPr>
                  <p:cNvSpPr/>
                  <p:nvPr/>
                </p:nvSpPr>
                <p:spPr>
                  <a:xfrm>
                    <a:off x="8189074" y="5965745"/>
                    <a:ext cx="102700" cy="27000"/>
                  </a:xfrm>
                  <a:custGeom>
                    <a:avLst/>
                    <a:gdLst>
                      <a:gd name="connsiteX0" fmla="*/ 15606 w 102700"/>
                      <a:gd name="connsiteY0" fmla="*/ 0 h 27000"/>
                      <a:gd name="connsiteX1" fmla="*/ 87069 w 102700"/>
                      <a:gd name="connsiteY1" fmla="*/ 0 h 27000"/>
                      <a:gd name="connsiteX2" fmla="*/ 102701 w 102700"/>
                      <a:gd name="connsiteY2" fmla="*/ 15637 h 27000"/>
                      <a:gd name="connsiteX3" fmla="*/ 102701 w 102700"/>
                      <a:gd name="connsiteY3" fmla="*/ 20630 h 27000"/>
                      <a:gd name="connsiteX4" fmla="*/ 96332 w 102700"/>
                      <a:gd name="connsiteY4" fmla="*/ 27001 h 27000"/>
                      <a:gd name="connsiteX5" fmla="*/ 6369 w 102700"/>
                      <a:gd name="connsiteY5" fmla="*/ 27001 h 27000"/>
                      <a:gd name="connsiteX6" fmla="*/ 0 w 102700"/>
                      <a:gd name="connsiteY6" fmla="*/ 20630 h 27000"/>
                      <a:gd name="connsiteX7" fmla="*/ 0 w 102700"/>
                      <a:gd name="connsiteY7" fmla="*/ 15637 h 27000"/>
                      <a:gd name="connsiteX8" fmla="*/ 15632 w 102700"/>
                      <a:gd name="connsiteY8" fmla="*/ 0 h 27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2700" h="27000">
                        <a:moveTo>
                          <a:pt x="15606" y="0"/>
                        </a:moveTo>
                        <a:lnTo>
                          <a:pt x="87069" y="0"/>
                        </a:lnTo>
                        <a:cubicBezTo>
                          <a:pt x="95687" y="0"/>
                          <a:pt x="102701" y="7003"/>
                          <a:pt x="102701" y="15637"/>
                        </a:cubicBezTo>
                        <a:lnTo>
                          <a:pt x="102701" y="20630"/>
                        </a:lnTo>
                        <a:cubicBezTo>
                          <a:pt x="102701" y="24144"/>
                          <a:pt x="99845" y="27001"/>
                          <a:pt x="96332" y="27001"/>
                        </a:cubicBezTo>
                        <a:lnTo>
                          <a:pt x="6369" y="27001"/>
                        </a:lnTo>
                        <a:cubicBezTo>
                          <a:pt x="2856" y="27001"/>
                          <a:pt x="0" y="24144"/>
                          <a:pt x="0" y="20630"/>
                        </a:cubicBezTo>
                        <a:lnTo>
                          <a:pt x="0" y="15637"/>
                        </a:lnTo>
                        <a:cubicBezTo>
                          <a:pt x="0" y="7016"/>
                          <a:pt x="7001" y="0"/>
                          <a:pt x="15632" y="0"/>
                        </a:cubicBezTo>
                        <a:close/>
                      </a:path>
                    </a:pathLst>
                  </a:custGeom>
                  <a:solidFill>
                    <a:srgbClr val="08665C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19" name="Freihandform 418">
                    <a:extLst>
                      <a:ext uri="{FF2B5EF4-FFF2-40B4-BE49-F238E27FC236}">
                        <a16:creationId xmlns:a16="http://schemas.microsoft.com/office/drawing/2014/main" id="{4BBAE3A3-6C77-8EFD-8269-951A062CE00F}"/>
                      </a:ext>
                    </a:extLst>
                  </p:cNvPr>
                  <p:cNvSpPr/>
                  <p:nvPr/>
                </p:nvSpPr>
                <p:spPr>
                  <a:xfrm>
                    <a:off x="8230270" y="6003491"/>
                    <a:ext cx="20269" cy="20275"/>
                  </a:xfrm>
                  <a:custGeom>
                    <a:avLst/>
                    <a:gdLst>
                      <a:gd name="connsiteX0" fmla="*/ 20270 w 20269"/>
                      <a:gd name="connsiteY0" fmla="*/ 10138 h 20275"/>
                      <a:gd name="connsiteX1" fmla="*/ 10135 w 20269"/>
                      <a:gd name="connsiteY1" fmla="*/ 20276 h 20275"/>
                      <a:gd name="connsiteX2" fmla="*/ 0 w 20269"/>
                      <a:gd name="connsiteY2" fmla="*/ 10138 h 20275"/>
                      <a:gd name="connsiteX3" fmla="*/ 10135 w 20269"/>
                      <a:gd name="connsiteY3" fmla="*/ 0 h 20275"/>
                      <a:gd name="connsiteX4" fmla="*/ 20270 w 20269"/>
                      <a:gd name="connsiteY4" fmla="*/ 10138 h 202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269" h="20275">
                        <a:moveTo>
                          <a:pt x="20270" y="10138"/>
                        </a:moveTo>
                        <a:cubicBezTo>
                          <a:pt x="20270" y="15737"/>
                          <a:pt x="15732" y="20276"/>
                          <a:pt x="10135" y="20276"/>
                        </a:cubicBezTo>
                        <a:cubicBezTo>
                          <a:pt x="4538" y="20276"/>
                          <a:pt x="0" y="15737"/>
                          <a:pt x="0" y="10138"/>
                        </a:cubicBezTo>
                        <a:cubicBezTo>
                          <a:pt x="0" y="4539"/>
                          <a:pt x="4538" y="0"/>
                          <a:pt x="10135" y="0"/>
                        </a:cubicBezTo>
                        <a:cubicBezTo>
                          <a:pt x="15732" y="0"/>
                          <a:pt x="20270" y="4539"/>
                          <a:pt x="20270" y="10138"/>
                        </a:cubicBezTo>
                        <a:close/>
                      </a:path>
                    </a:pathLst>
                  </a:custGeom>
                  <a:solidFill>
                    <a:srgbClr val="08665C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20" name="Grafik 5">
                  <a:extLst>
                    <a:ext uri="{FF2B5EF4-FFF2-40B4-BE49-F238E27FC236}">
                      <a16:creationId xmlns:a16="http://schemas.microsoft.com/office/drawing/2014/main" id="{3162ACB6-EBDF-267F-10C9-6B015329604F}"/>
                    </a:ext>
                  </a:extLst>
                </p:cNvPr>
                <p:cNvGrpSpPr/>
                <p:nvPr/>
              </p:nvGrpSpPr>
              <p:grpSpPr>
                <a:xfrm>
                  <a:off x="8165164" y="6032856"/>
                  <a:ext cx="209635" cy="222680"/>
                  <a:chOff x="8165164" y="6032856"/>
                  <a:chExt cx="209635" cy="222680"/>
                </a:xfrm>
              </p:grpSpPr>
              <p:sp>
                <p:nvSpPr>
                  <p:cNvPr id="421" name="Freihandform 420">
                    <a:extLst>
                      <a:ext uri="{FF2B5EF4-FFF2-40B4-BE49-F238E27FC236}">
                        <a16:creationId xmlns:a16="http://schemas.microsoft.com/office/drawing/2014/main" id="{97286644-E1CC-4AD2-A5E5-7B4D769B8075}"/>
                      </a:ext>
                    </a:extLst>
                  </p:cNvPr>
                  <p:cNvSpPr/>
                  <p:nvPr/>
                </p:nvSpPr>
                <p:spPr>
                  <a:xfrm>
                    <a:off x="8165164" y="6032856"/>
                    <a:ext cx="209635" cy="222668"/>
                  </a:xfrm>
                  <a:custGeom>
                    <a:avLst/>
                    <a:gdLst>
                      <a:gd name="connsiteX0" fmla="*/ 0 w 209635"/>
                      <a:gd name="connsiteY0" fmla="*/ 0 h 222668"/>
                      <a:gd name="connsiteX1" fmla="*/ 209635 w 209635"/>
                      <a:gd name="connsiteY1" fmla="*/ 0 h 222668"/>
                      <a:gd name="connsiteX2" fmla="*/ 209635 w 209635"/>
                      <a:gd name="connsiteY2" fmla="*/ 222668 h 222668"/>
                      <a:gd name="connsiteX3" fmla="*/ 0 w 209635"/>
                      <a:gd name="connsiteY3" fmla="*/ 222668 h 2226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09635" h="222668">
                        <a:moveTo>
                          <a:pt x="0" y="0"/>
                        </a:moveTo>
                        <a:lnTo>
                          <a:pt x="209635" y="0"/>
                        </a:lnTo>
                        <a:lnTo>
                          <a:pt x="209635" y="222668"/>
                        </a:lnTo>
                        <a:lnTo>
                          <a:pt x="0" y="222668"/>
                        </a:lnTo>
                        <a:close/>
                      </a:path>
                    </a:pathLst>
                  </a:custGeom>
                  <a:solidFill>
                    <a:srgbClr val="DFF4F3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2" name="Freihandform 421">
                    <a:extLst>
                      <a:ext uri="{FF2B5EF4-FFF2-40B4-BE49-F238E27FC236}">
                        <a16:creationId xmlns:a16="http://schemas.microsoft.com/office/drawing/2014/main" id="{B5F22B01-26F6-6C33-3B72-CBEB2DCD2899}"/>
                      </a:ext>
                    </a:extLst>
                  </p:cNvPr>
                  <p:cNvSpPr/>
                  <p:nvPr/>
                </p:nvSpPr>
                <p:spPr>
                  <a:xfrm>
                    <a:off x="8165164" y="6189842"/>
                    <a:ext cx="209635" cy="65694"/>
                  </a:xfrm>
                  <a:custGeom>
                    <a:avLst/>
                    <a:gdLst>
                      <a:gd name="connsiteX0" fmla="*/ 0 w 209635"/>
                      <a:gd name="connsiteY0" fmla="*/ 0 h 65694"/>
                      <a:gd name="connsiteX1" fmla="*/ 209635 w 209635"/>
                      <a:gd name="connsiteY1" fmla="*/ 0 h 65694"/>
                      <a:gd name="connsiteX2" fmla="*/ 209635 w 209635"/>
                      <a:gd name="connsiteY2" fmla="*/ 65694 h 65694"/>
                      <a:gd name="connsiteX3" fmla="*/ 0 w 209635"/>
                      <a:gd name="connsiteY3" fmla="*/ 65694 h 656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09635" h="65694">
                        <a:moveTo>
                          <a:pt x="0" y="0"/>
                        </a:moveTo>
                        <a:lnTo>
                          <a:pt x="209635" y="0"/>
                        </a:lnTo>
                        <a:lnTo>
                          <a:pt x="209635" y="65694"/>
                        </a:lnTo>
                        <a:lnTo>
                          <a:pt x="0" y="65694"/>
                        </a:lnTo>
                        <a:close/>
                      </a:path>
                    </a:pathLst>
                  </a:custGeom>
                  <a:solidFill>
                    <a:srgbClr val="B8DEDA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23" name="Grafik 5">
                  <a:extLst>
                    <a:ext uri="{FF2B5EF4-FFF2-40B4-BE49-F238E27FC236}">
                      <a16:creationId xmlns:a16="http://schemas.microsoft.com/office/drawing/2014/main" id="{66B1D49B-FA35-96C5-2BCA-BE26C4B63F69}"/>
                    </a:ext>
                  </a:extLst>
                </p:cNvPr>
                <p:cNvGrpSpPr/>
                <p:nvPr/>
              </p:nvGrpSpPr>
              <p:grpSpPr>
                <a:xfrm>
                  <a:off x="7999632" y="6032843"/>
                  <a:ext cx="447589" cy="222693"/>
                  <a:chOff x="7999632" y="6032843"/>
                  <a:chExt cx="447589" cy="222693"/>
                </a:xfrm>
              </p:grpSpPr>
              <p:sp>
                <p:nvSpPr>
                  <p:cNvPr id="424" name="Freihandform 423">
                    <a:extLst>
                      <a:ext uri="{FF2B5EF4-FFF2-40B4-BE49-F238E27FC236}">
                        <a16:creationId xmlns:a16="http://schemas.microsoft.com/office/drawing/2014/main" id="{30006E5D-D94D-80AD-233F-E804D51EAF37}"/>
                      </a:ext>
                    </a:extLst>
                  </p:cNvPr>
                  <p:cNvSpPr/>
                  <p:nvPr/>
                </p:nvSpPr>
                <p:spPr>
                  <a:xfrm>
                    <a:off x="8409475" y="6101558"/>
                    <a:ext cx="37746" cy="85275"/>
                  </a:xfrm>
                  <a:custGeom>
                    <a:avLst/>
                    <a:gdLst>
                      <a:gd name="connsiteX0" fmla="*/ 17085 w 37746"/>
                      <a:gd name="connsiteY0" fmla="*/ 0 h 85275"/>
                      <a:gd name="connsiteX1" fmla="*/ 0 w 37746"/>
                      <a:gd name="connsiteY1" fmla="*/ 0 h 85275"/>
                      <a:gd name="connsiteX2" fmla="*/ 0 w 37746"/>
                      <a:gd name="connsiteY2" fmla="*/ 85275 h 85275"/>
                      <a:gd name="connsiteX3" fmla="*/ 17085 w 37746"/>
                      <a:gd name="connsiteY3" fmla="*/ 85275 h 85275"/>
                      <a:gd name="connsiteX4" fmla="*/ 37747 w 37746"/>
                      <a:gd name="connsiteY4" fmla="*/ 64608 h 85275"/>
                      <a:gd name="connsiteX5" fmla="*/ 37747 w 37746"/>
                      <a:gd name="connsiteY5" fmla="*/ 20681 h 85275"/>
                      <a:gd name="connsiteX6" fmla="*/ 17085 w 37746"/>
                      <a:gd name="connsiteY6" fmla="*/ 13 h 852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7746" h="85275">
                        <a:moveTo>
                          <a:pt x="17085" y="0"/>
                        </a:moveTo>
                        <a:lnTo>
                          <a:pt x="0" y="0"/>
                        </a:lnTo>
                        <a:lnTo>
                          <a:pt x="0" y="85275"/>
                        </a:lnTo>
                        <a:lnTo>
                          <a:pt x="17085" y="85275"/>
                        </a:lnTo>
                        <a:cubicBezTo>
                          <a:pt x="28496" y="85275"/>
                          <a:pt x="37747" y="76022"/>
                          <a:pt x="37747" y="64608"/>
                        </a:cubicBezTo>
                        <a:lnTo>
                          <a:pt x="37747" y="20681"/>
                        </a:lnTo>
                        <a:cubicBezTo>
                          <a:pt x="37747" y="9266"/>
                          <a:pt x="28496" y="13"/>
                          <a:pt x="17085" y="13"/>
                        </a:cubicBezTo>
                        <a:close/>
                      </a:path>
                    </a:pathLst>
                  </a:custGeom>
                  <a:solidFill>
                    <a:srgbClr val="08665C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5" name="Freihandform 424">
                    <a:extLst>
                      <a:ext uri="{FF2B5EF4-FFF2-40B4-BE49-F238E27FC236}">
                        <a16:creationId xmlns:a16="http://schemas.microsoft.com/office/drawing/2014/main" id="{D3D74B75-9773-F0C4-0737-2CF13140C4A8}"/>
                      </a:ext>
                    </a:extLst>
                  </p:cNvPr>
                  <p:cNvSpPr/>
                  <p:nvPr/>
                </p:nvSpPr>
                <p:spPr>
                  <a:xfrm>
                    <a:off x="7999632" y="6125424"/>
                    <a:ext cx="74242" cy="37555"/>
                  </a:xfrm>
                  <a:custGeom>
                    <a:avLst/>
                    <a:gdLst>
                      <a:gd name="connsiteX0" fmla="*/ 0 w 74242"/>
                      <a:gd name="connsiteY0" fmla="*/ 0 h 37555"/>
                      <a:gd name="connsiteX1" fmla="*/ 74242 w 74242"/>
                      <a:gd name="connsiteY1" fmla="*/ 0 h 37555"/>
                      <a:gd name="connsiteX2" fmla="*/ 74242 w 74242"/>
                      <a:gd name="connsiteY2" fmla="*/ 37556 h 37555"/>
                      <a:gd name="connsiteX3" fmla="*/ 0 w 74242"/>
                      <a:gd name="connsiteY3" fmla="*/ 37556 h 375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242" h="37555">
                        <a:moveTo>
                          <a:pt x="0" y="0"/>
                        </a:moveTo>
                        <a:lnTo>
                          <a:pt x="74242" y="0"/>
                        </a:lnTo>
                        <a:lnTo>
                          <a:pt x="74242" y="37556"/>
                        </a:lnTo>
                        <a:lnTo>
                          <a:pt x="0" y="37556"/>
                        </a:lnTo>
                        <a:close/>
                      </a:path>
                    </a:pathLst>
                  </a:custGeom>
                  <a:solidFill>
                    <a:srgbClr val="B8DEDA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6" name="Freihandform 425">
                    <a:extLst>
                      <a:ext uri="{FF2B5EF4-FFF2-40B4-BE49-F238E27FC236}">
                        <a16:creationId xmlns:a16="http://schemas.microsoft.com/office/drawing/2014/main" id="{4648A736-BED3-875D-1F17-20301A5C0A60}"/>
                      </a:ext>
                    </a:extLst>
                  </p:cNvPr>
                  <p:cNvSpPr/>
                  <p:nvPr/>
                </p:nvSpPr>
                <p:spPr>
                  <a:xfrm>
                    <a:off x="8073875" y="6065658"/>
                    <a:ext cx="37746" cy="157036"/>
                  </a:xfrm>
                  <a:custGeom>
                    <a:avLst/>
                    <a:gdLst>
                      <a:gd name="connsiteX0" fmla="*/ 20662 w 37746"/>
                      <a:gd name="connsiteY0" fmla="*/ 13 h 157036"/>
                      <a:gd name="connsiteX1" fmla="*/ 0 w 37746"/>
                      <a:gd name="connsiteY1" fmla="*/ 20681 h 157036"/>
                      <a:gd name="connsiteX2" fmla="*/ 0 w 37746"/>
                      <a:gd name="connsiteY2" fmla="*/ 136369 h 157036"/>
                      <a:gd name="connsiteX3" fmla="*/ 20662 w 37746"/>
                      <a:gd name="connsiteY3" fmla="*/ 157037 h 157036"/>
                      <a:gd name="connsiteX4" fmla="*/ 37747 w 37746"/>
                      <a:gd name="connsiteY4" fmla="*/ 157037 h 157036"/>
                      <a:gd name="connsiteX5" fmla="*/ 37747 w 37746"/>
                      <a:gd name="connsiteY5" fmla="*/ 0 h 157036"/>
                      <a:gd name="connsiteX6" fmla="*/ 20662 w 37746"/>
                      <a:gd name="connsiteY6" fmla="*/ 0 h 1570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7746" h="157036">
                        <a:moveTo>
                          <a:pt x="20662" y="13"/>
                        </a:moveTo>
                        <a:cubicBezTo>
                          <a:pt x="9250" y="13"/>
                          <a:pt x="0" y="9266"/>
                          <a:pt x="0" y="20681"/>
                        </a:cubicBezTo>
                        <a:lnTo>
                          <a:pt x="0" y="136369"/>
                        </a:lnTo>
                        <a:cubicBezTo>
                          <a:pt x="0" y="147784"/>
                          <a:pt x="9250" y="157037"/>
                          <a:pt x="20662" y="157037"/>
                        </a:cubicBezTo>
                        <a:lnTo>
                          <a:pt x="37747" y="157037"/>
                        </a:lnTo>
                        <a:lnTo>
                          <a:pt x="37747" y="0"/>
                        </a:lnTo>
                        <a:lnTo>
                          <a:pt x="20662" y="0"/>
                        </a:lnTo>
                        <a:close/>
                      </a:path>
                    </a:pathLst>
                  </a:custGeom>
                  <a:solidFill>
                    <a:srgbClr val="08665C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427" name="Grafik 5">
                    <a:extLst>
                      <a:ext uri="{FF2B5EF4-FFF2-40B4-BE49-F238E27FC236}">
                        <a16:creationId xmlns:a16="http://schemas.microsoft.com/office/drawing/2014/main" id="{40A1DCBF-96F9-AAEC-6F02-5A2C2BF7A825}"/>
                      </a:ext>
                    </a:extLst>
                  </p:cNvPr>
                  <p:cNvGrpSpPr/>
                  <p:nvPr/>
                </p:nvGrpSpPr>
                <p:grpSpPr>
                  <a:xfrm>
                    <a:off x="8111621" y="6032843"/>
                    <a:ext cx="53556" cy="222680"/>
                    <a:chOff x="8111621" y="6032843"/>
                    <a:chExt cx="53556" cy="222680"/>
                  </a:xfrm>
                </p:grpSpPr>
                <p:sp>
                  <p:nvSpPr>
                    <p:cNvPr id="428" name="Freihandform 427">
                      <a:extLst>
                        <a:ext uri="{FF2B5EF4-FFF2-40B4-BE49-F238E27FC236}">
                          <a16:creationId xmlns:a16="http://schemas.microsoft.com/office/drawing/2014/main" id="{931DD79C-16A2-D6AB-800F-C213C6E133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11621" y="6032843"/>
                      <a:ext cx="53542" cy="156986"/>
                    </a:xfrm>
                    <a:custGeom>
                      <a:avLst/>
                      <a:gdLst>
                        <a:gd name="connsiteX0" fmla="*/ 53543 w 53542"/>
                        <a:gd name="connsiteY0" fmla="*/ 12 h 156986"/>
                        <a:gd name="connsiteX1" fmla="*/ 29306 w 53542"/>
                        <a:gd name="connsiteY1" fmla="*/ 12 h 156986"/>
                        <a:gd name="connsiteX2" fmla="*/ 0 w 53542"/>
                        <a:gd name="connsiteY2" fmla="*/ 30452 h 156986"/>
                        <a:gd name="connsiteX3" fmla="*/ 0 w 53542"/>
                        <a:gd name="connsiteY3" fmla="*/ 156986 h 156986"/>
                        <a:gd name="connsiteX4" fmla="*/ 53543 w 53542"/>
                        <a:gd name="connsiteY4" fmla="*/ 156986 h 156986"/>
                        <a:gd name="connsiteX5" fmla="*/ 53543 w 53542"/>
                        <a:gd name="connsiteY5" fmla="*/ 0 h 1569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53542" h="156986">
                          <a:moveTo>
                            <a:pt x="53543" y="12"/>
                          </a:moveTo>
                          <a:lnTo>
                            <a:pt x="29306" y="12"/>
                          </a:lnTo>
                          <a:cubicBezTo>
                            <a:pt x="13118" y="12"/>
                            <a:pt x="0" y="13639"/>
                            <a:pt x="0" y="30452"/>
                          </a:cubicBezTo>
                          <a:lnTo>
                            <a:pt x="0" y="156986"/>
                          </a:lnTo>
                          <a:cubicBezTo>
                            <a:pt x="0" y="156986"/>
                            <a:pt x="53543" y="156986"/>
                            <a:pt x="53543" y="156986"/>
                          </a:cubicBezTo>
                          <a:lnTo>
                            <a:pt x="53543" y="0"/>
                          </a:lnTo>
                          <a:close/>
                        </a:path>
                      </a:pathLst>
                    </a:custGeom>
                    <a:solidFill>
                      <a:srgbClr val="6CB4AD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29" name="Freihandform 428">
                      <a:extLst>
                        <a:ext uri="{FF2B5EF4-FFF2-40B4-BE49-F238E27FC236}">
                          <a16:creationId xmlns:a16="http://schemas.microsoft.com/office/drawing/2014/main" id="{AC4067C0-E18A-4D5F-81FE-F2A25C2BF8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11634" y="6189829"/>
                      <a:ext cx="53542" cy="65694"/>
                    </a:xfrm>
                    <a:custGeom>
                      <a:avLst/>
                      <a:gdLst>
                        <a:gd name="connsiteX0" fmla="*/ 0 w 53542"/>
                        <a:gd name="connsiteY0" fmla="*/ 35559 h 65694"/>
                        <a:gd name="connsiteX1" fmla="*/ 0 w 53542"/>
                        <a:gd name="connsiteY1" fmla="*/ 38770 h 65694"/>
                        <a:gd name="connsiteX2" fmla="*/ 29305 w 53542"/>
                        <a:gd name="connsiteY2" fmla="*/ 65695 h 65694"/>
                        <a:gd name="connsiteX3" fmla="*/ 53543 w 53542"/>
                        <a:gd name="connsiteY3" fmla="*/ 65695 h 65694"/>
                        <a:gd name="connsiteX4" fmla="*/ 53543 w 53542"/>
                        <a:gd name="connsiteY4" fmla="*/ 0 h 65694"/>
                        <a:gd name="connsiteX5" fmla="*/ 0 w 53542"/>
                        <a:gd name="connsiteY5" fmla="*/ 0 h 65694"/>
                        <a:gd name="connsiteX6" fmla="*/ 0 w 53542"/>
                        <a:gd name="connsiteY6" fmla="*/ 35546 h 6569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3542" h="65694">
                          <a:moveTo>
                            <a:pt x="0" y="35559"/>
                          </a:moveTo>
                          <a:lnTo>
                            <a:pt x="0" y="38770"/>
                          </a:lnTo>
                          <a:cubicBezTo>
                            <a:pt x="0" y="53635"/>
                            <a:pt x="13117" y="65695"/>
                            <a:pt x="29305" y="65695"/>
                          </a:cubicBezTo>
                          <a:lnTo>
                            <a:pt x="53543" y="65695"/>
                          </a:lnTo>
                          <a:lnTo>
                            <a:pt x="53543" y="0"/>
                          </a:lnTo>
                          <a:lnTo>
                            <a:pt x="0" y="0"/>
                          </a:lnTo>
                          <a:lnTo>
                            <a:pt x="0" y="35546"/>
                          </a:lnTo>
                          <a:close/>
                        </a:path>
                      </a:pathLst>
                    </a:custGeom>
                    <a:solidFill>
                      <a:srgbClr val="3B9B91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430" name="Grafik 5">
                    <a:extLst>
                      <a:ext uri="{FF2B5EF4-FFF2-40B4-BE49-F238E27FC236}">
                        <a16:creationId xmlns:a16="http://schemas.microsoft.com/office/drawing/2014/main" id="{E816B585-9E6F-83F5-D37E-DC54C64D385F}"/>
                      </a:ext>
                    </a:extLst>
                  </p:cNvPr>
                  <p:cNvGrpSpPr/>
                  <p:nvPr/>
                </p:nvGrpSpPr>
                <p:grpSpPr>
                  <a:xfrm>
                    <a:off x="8374799" y="6032855"/>
                    <a:ext cx="53556" cy="222680"/>
                    <a:chOff x="8374799" y="6032855"/>
                    <a:chExt cx="53556" cy="222680"/>
                  </a:xfrm>
                </p:grpSpPr>
                <p:sp>
                  <p:nvSpPr>
                    <p:cNvPr id="431" name="Freihandform 430">
                      <a:extLst>
                        <a:ext uri="{FF2B5EF4-FFF2-40B4-BE49-F238E27FC236}">
                          <a16:creationId xmlns:a16="http://schemas.microsoft.com/office/drawing/2014/main" id="{5FAC6EAB-445B-C85D-A8B4-4900504EE1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74799" y="6032855"/>
                      <a:ext cx="53543" cy="156986"/>
                    </a:xfrm>
                    <a:custGeom>
                      <a:avLst/>
                      <a:gdLst>
                        <a:gd name="connsiteX0" fmla="*/ 53544 w 53543"/>
                        <a:gd name="connsiteY0" fmla="*/ 34080 h 156986"/>
                        <a:gd name="connsiteX1" fmla="*/ 53544 w 53543"/>
                        <a:gd name="connsiteY1" fmla="*/ 30439 h 156986"/>
                        <a:gd name="connsiteX2" fmla="*/ 24238 w 53543"/>
                        <a:gd name="connsiteY2" fmla="*/ 0 h 156986"/>
                        <a:gd name="connsiteX3" fmla="*/ 0 w 53543"/>
                        <a:gd name="connsiteY3" fmla="*/ 0 h 156986"/>
                        <a:gd name="connsiteX4" fmla="*/ 0 w 53543"/>
                        <a:gd name="connsiteY4" fmla="*/ 156986 h 156986"/>
                        <a:gd name="connsiteX5" fmla="*/ 53544 w 53543"/>
                        <a:gd name="connsiteY5" fmla="*/ 156986 h 156986"/>
                        <a:gd name="connsiteX6" fmla="*/ 53544 w 53543"/>
                        <a:gd name="connsiteY6" fmla="*/ 34080 h 1569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3543" h="156986">
                          <a:moveTo>
                            <a:pt x="53544" y="34080"/>
                          </a:moveTo>
                          <a:lnTo>
                            <a:pt x="53544" y="30439"/>
                          </a:lnTo>
                          <a:cubicBezTo>
                            <a:pt x="53544" y="13627"/>
                            <a:pt x="40426" y="0"/>
                            <a:pt x="24238" y="0"/>
                          </a:cubicBezTo>
                          <a:lnTo>
                            <a:pt x="0" y="0"/>
                          </a:lnTo>
                          <a:lnTo>
                            <a:pt x="0" y="156986"/>
                          </a:lnTo>
                          <a:cubicBezTo>
                            <a:pt x="0" y="156986"/>
                            <a:pt x="53544" y="156986"/>
                            <a:pt x="53544" y="156986"/>
                          </a:cubicBezTo>
                          <a:lnTo>
                            <a:pt x="53544" y="34080"/>
                          </a:lnTo>
                          <a:close/>
                        </a:path>
                      </a:pathLst>
                    </a:custGeom>
                    <a:solidFill>
                      <a:srgbClr val="6CB4AD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32" name="Freihandform 431">
                      <a:extLst>
                        <a:ext uri="{FF2B5EF4-FFF2-40B4-BE49-F238E27FC236}">
                          <a16:creationId xmlns:a16="http://schemas.microsoft.com/office/drawing/2014/main" id="{50F2DC32-1F89-7368-E868-3DAA0C38EC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74812" y="6189842"/>
                      <a:ext cx="53542" cy="65694"/>
                    </a:xfrm>
                    <a:custGeom>
                      <a:avLst/>
                      <a:gdLst>
                        <a:gd name="connsiteX0" fmla="*/ 0 w 53542"/>
                        <a:gd name="connsiteY0" fmla="*/ 65694 h 65694"/>
                        <a:gd name="connsiteX1" fmla="*/ 24237 w 53542"/>
                        <a:gd name="connsiteY1" fmla="*/ 65694 h 65694"/>
                        <a:gd name="connsiteX2" fmla="*/ 53543 w 53542"/>
                        <a:gd name="connsiteY2" fmla="*/ 38770 h 65694"/>
                        <a:gd name="connsiteX3" fmla="*/ 53543 w 53542"/>
                        <a:gd name="connsiteY3" fmla="*/ 0 h 65694"/>
                        <a:gd name="connsiteX4" fmla="*/ 0 w 53542"/>
                        <a:gd name="connsiteY4" fmla="*/ 0 h 65694"/>
                        <a:gd name="connsiteX5" fmla="*/ 0 w 53542"/>
                        <a:gd name="connsiteY5" fmla="*/ 65694 h 6569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53542" h="65694">
                          <a:moveTo>
                            <a:pt x="0" y="65694"/>
                          </a:moveTo>
                          <a:lnTo>
                            <a:pt x="24237" y="65694"/>
                          </a:lnTo>
                          <a:cubicBezTo>
                            <a:pt x="40425" y="65694"/>
                            <a:pt x="53543" y="53635"/>
                            <a:pt x="53543" y="38770"/>
                          </a:cubicBezTo>
                          <a:lnTo>
                            <a:pt x="53543" y="0"/>
                          </a:lnTo>
                          <a:lnTo>
                            <a:pt x="0" y="0"/>
                          </a:lnTo>
                          <a:lnTo>
                            <a:pt x="0" y="65694"/>
                          </a:lnTo>
                          <a:close/>
                        </a:path>
                      </a:pathLst>
                    </a:custGeom>
                    <a:solidFill>
                      <a:srgbClr val="3B9B91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433" name="Grafik 5">
                  <a:extLst>
                    <a:ext uri="{FF2B5EF4-FFF2-40B4-BE49-F238E27FC236}">
                      <a16:creationId xmlns:a16="http://schemas.microsoft.com/office/drawing/2014/main" id="{F2832DBC-8FDF-7FFB-1B49-0B0B0EC90FBA}"/>
                    </a:ext>
                  </a:extLst>
                </p:cNvPr>
                <p:cNvGrpSpPr/>
                <p:nvPr/>
              </p:nvGrpSpPr>
              <p:grpSpPr>
                <a:xfrm>
                  <a:off x="8189048" y="6053030"/>
                  <a:ext cx="161563" cy="182798"/>
                  <a:chOff x="8189048" y="6053030"/>
                  <a:chExt cx="161563" cy="182798"/>
                </a:xfrm>
              </p:grpSpPr>
              <p:sp>
                <p:nvSpPr>
                  <p:cNvPr id="434" name="Freihandform 433">
                    <a:extLst>
                      <a:ext uri="{FF2B5EF4-FFF2-40B4-BE49-F238E27FC236}">
                        <a16:creationId xmlns:a16="http://schemas.microsoft.com/office/drawing/2014/main" id="{CDD6217C-96FF-13CE-105B-F2AAFBF97CEC}"/>
                      </a:ext>
                    </a:extLst>
                  </p:cNvPr>
                  <p:cNvSpPr/>
                  <p:nvPr/>
                </p:nvSpPr>
                <p:spPr>
                  <a:xfrm>
                    <a:off x="8189048" y="6053030"/>
                    <a:ext cx="161563" cy="6118"/>
                  </a:xfrm>
                  <a:custGeom>
                    <a:avLst/>
                    <a:gdLst>
                      <a:gd name="connsiteX0" fmla="*/ 0 w 161563"/>
                      <a:gd name="connsiteY0" fmla="*/ 0 h 6118"/>
                      <a:gd name="connsiteX1" fmla="*/ 161564 w 161563"/>
                      <a:gd name="connsiteY1" fmla="*/ 0 h 6118"/>
                      <a:gd name="connsiteX2" fmla="*/ 161564 w 161563"/>
                      <a:gd name="connsiteY2" fmla="*/ 6118 h 6118"/>
                      <a:gd name="connsiteX3" fmla="*/ 0 w 161563"/>
                      <a:gd name="connsiteY3" fmla="*/ 6118 h 61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1563" h="6118">
                        <a:moveTo>
                          <a:pt x="0" y="0"/>
                        </a:moveTo>
                        <a:lnTo>
                          <a:pt x="161564" y="0"/>
                        </a:lnTo>
                        <a:lnTo>
                          <a:pt x="161564" y="6118"/>
                        </a:lnTo>
                        <a:lnTo>
                          <a:pt x="0" y="6118"/>
                        </a:ln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5" name="Freihandform 434">
                    <a:extLst>
                      <a:ext uri="{FF2B5EF4-FFF2-40B4-BE49-F238E27FC236}">
                        <a16:creationId xmlns:a16="http://schemas.microsoft.com/office/drawing/2014/main" id="{EC1CE3B5-3646-EAFB-6D3C-2AA49887E85F}"/>
                      </a:ext>
                    </a:extLst>
                  </p:cNvPr>
                  <p:cNvSpPr/>
                  <p:nvPr/>
                </p:nvSpPr>
                <p:spPr>
                  <a:xfrm>
                    <a:off x="8189048" y="6082483"/>
                    <a:ext cx="161563" cy="6118"/>
                  </a:xfrm>
                  <a:custGeom>
                    <a:avLst/>
                    <a:gdLst>
                      <a:gd name="connsiteX0" fmla="*/ 0 w 161563"/>
                      <a:gd name="connsiteY0" fmla="*/ 0 h 6118"/>
                      <a:gd name="connsiteX1" fmla="*/ 161564 w 161563"/>
                      <a:gd name="connsiteY1" fmla="*/ 0 h 6118"/>
                      <a:gd name="connsiteX2" fmla="*/ 161564 w 161563"/>
                      <a:gd name="connsiteY2" fmla="*/ 6118 h 6118"/>
                      <a:gd name="connsiteX3" fmla="*/ 0 w 161563"/>
                      <a:gd name="connsiteY3" fmla="*/ 6118 h 61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1563" h="6118">
                        <a:moveTo>
                          <a:pt x="0" y="0"/>
                        </a:moveTo>
                        <a:lnTo>
                          <a:pt x="161564" y="0"/>
                        </a:lnTo>
                        <a:lnTo>
                          <a:pt x="161564" y="6118"/>
                        </a:lnTo>
                        <a:lnTo>
                          <a:pt x="0" y="6118"/>
                        </a:ln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6" name="Freihandform 435">
                    <a:extLst>
                      <a:ext uri="{FF2B5EF4-FFF2-40B4-BE49-F238E27FC236}">
                        <a16:creationId xmlns:a16="http://schemas.microsoft.com/office/drawing/2014/main" id="{02EE1CBC-0711-1B1E-E731-21BB2D90C925}"/>
                      </a:ext>
                    </a:extLst>
                  </p:cNvPr>
                  <p:cNvSpPr/>
                  <p:nvPr/>
                </p:nvSpPr>
                <p:spPr>
                  <a:xfrm>
                    <a:off x="8189048" y="6111924"/>
                    <a:ext cx="161563" cy="6118"/>
                  </a:xfrm>
                  <a:custGeom>
                    <a:avLst/>
                    <a:gdLst>
                      <a:gd name="connsiteX0" fmla="*/ 0 w 161563"/>
                      <a:gd name="connsiteY0" fmla="*/ 0 h 6118"/>
                      <a:gd name="connsiteX1" fmla="*/ 161564 w 161563"/>
                      <a:gd name="connsiteY1" fmla="*/ 0 h 6118"/>
                      <a:gd name="connsiteX2" fmla="*/ 161564 w 161563"/>
                      <a:gd name="connsiteY2" fmla="*/ 6118 h 6118"/>
                      <a:gd name="connsiteX3" fmla="*/ 0 w 161563"/>
                      <a:gd name="connsiteY3" fmla="*/ 6118 h 61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1563" h="6118">
                        <a:moveTo>
                          <a:pt x="0" y="0"/>
                        </a:moveTo>
                        <a:lnTo>
                          <a:pt x="161564" y="0"/>
                        </a:lnTo>
                        <a:lnTo>
                          <a:pt x="161564" y="6118"/>
                        </a:lnTo>
                        <a:lnTo>
                          <a:pt x="0" y="6118"/>
                        </a:ln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7" name="Freihandform 436">
                    <a:extLst>
                      <a:ext uri="{FF2B5EF4-FFF2-40B4-BE49-F238E27FC236}">
                        <a16:creationId xmlns:a16="http://schemas.microsoft.com/office/drawing/2014/main" id="{B8ECC3C9-FD69-DBE3-9A92-8E00A54748B8}"/>
                      </a:ext>
                    </a:extLst>
                  </p:cNvPr>
                  <p:cNvSpPr/>
                  <p:nvPr/>
                </p:nvSpPr>
                <p:spPr>
                  <a:xfrm>
                    <a:off x="8189048" y="6141377"/>
                    <a:ext cx="161563" cy="6118"/>
                  </a:xfrm>
                  <a:custGeom>
                    <a:avLst/>
                    <a:gdLst>
                      <a:gd name="connsiteX0" fmla="*/ 0 w 161563"/>
                      <a:gd name="connsiteY0" fmla="*/ 0 h 6118"/>
                      <a:gd name="connsiteX1" fmla="*/ 161564 w 161563"/>
                      <a:gd name="connsiteY1" fmla="*/ 0 h 6118"/>
                      <a:gd name="connsiteX2" fmla="*/ 161564 w 161563"/>
                      <a:gd name="connsiteY2" fmla="*/ 6118 h 6118"/>
                      <a:gd name="connsiteX3" fmla="*/ 0 w 161563"/>
                      <a:gd name="connsiteY3" fmla="*/ 6118 h 61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1563" h="6118">
                        <a:moveTo>
                          <a:pt x="0" y="0"/>
                        </a:moveTo>
                        <a:lnTo>
                          <a:pt x="161564" y="0"/>
                        </a:lnTo>
                        <a:lnTo>
                          <a:pt x="161564" y="6118"/>
                        </a:lnTo>
                        <a:lnTo>
                          <a:pt x="0" y="6118"/>
                        </a:ln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8" name="Freihandform 437">
                    <a:extLst>
                      <a:ext uri="{FF2B5EF4-FFF2-40B4-BE49-F238E27FC236}">
                        <a16:creationId xmlns:a16="http://schemas.microsoft.com/office/drawing/2014/main" id="{8F2F5228-1869-E5DF-6239-56DC11C9DF2A}"/>
                      </a:ext>
                    </a:extLst>
                  </p:cNvPr>
                  <p:cNvSpPr/>
                  <p:nvPr/>
                </p:nvSpPr>
                <p:spPr>
                  <a:xfrm>
                    <a:off x="8189048" y="6170817"/>
                    <a:ext cx="161563" cy="6118"/>
                  </a:xfrm>
                  <a:custGeom>
                    <a:avLst/>
                    <a:gdLst>
                      <a:gd name="connsiteX0" fmla="*/ 0 w 161563"/>
                      <a:gd name="connsiteY0" fmla="*/ 0 h 6118"/>
                      <a:gd name="connsiteX1" fmla="*/ 161564 w 161563"/>
                      <a:gd name="connsiteY1" fmla="*/ 0 h 6118"/>
                      <a:gd name="connsiteX2" fmla="*/ 161564 w 161563"/>
                      <a:gd name="connsiteY2" fmla="*/ 6118 h 6118"/>
                      <a:gd name="connsiteX3" fmla="*/ 0 w 161563"/>
                      <a:gd name="connsiteY3" fmla="*/ 6118 h 61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1563" h="6118">
                        <a:moveTo>
                          <a:pt x="0" y="0"/>
                        </a:moveTo>
                        <a:lnTo>
                          <a:pt x="161564" y="0"/>
                        </a:lnTo>
                        <a:lnTo>
                          <a:pt x="161564" y="6118"/>
                        </a:lnTo>
                        <a:lnTo>
                          <a:pt x="0" y="6118"/>
                        </a:lnTo>
                        <a:close/>
                      </a:path>
                    </a:pathLst>
                  </a:custGeom>
                  <a:solidFill>
                    <a:srgbClr val="6CB4AD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9" name="Freihandform 438">
                    <a:extLst>
                      <a:ext uri="{FF2B5EF4-FFF2-40B4-BE49-F238E27FC236}">
                        <a16:creationId xmlns:a16="http://schemas.microsoft.com/office/drawing/2014/main" id="{06C6D595-41B3-DD5D-B169-47AA53B1A756}"/>
                      </a:ext>
                    </a:extLst>
                  </p:cNvPr>
                  <p:cNvSpPr/>
                  <p:nvPr/>
                </p:nvSpPr>
                <p:spPr>
                  <a:xfrm>
                    <a:off x="8189048" y="6200271"/>
                    <a:ext cx="161563" cy="6118"/>
                  </a:xfrm>
                  <a:custGeom>
                    <a:avLst/>
                    <a:gdLst>
                      <a:gd name="connsiteX0" fmla="*/ 0 w 161563"/>
                      <a:gd name="connsiteY0" fmla="*/ 0 h 6118"/>
                      <a:gd name="connsiteX1" fmla="*/ 161564 w 161563"/>
                      <a:gd name="connsiteY1" fmla="*/ 0 h 6118"/>
                      <a:gd name="connsiteX2" fmla="*/ 161564 w 161563"/>
                      <a:gd name="connsiteY2" fmla="*/ 6118 h 6118"/>
                      <a:gd name="connsiteX3" fmla="*/ 0 w 161563"/>
                      <a:gd name="connsiteY3" fmla="*/ 6118 h 61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1563" h="6118">
                        <a:moveTo>
                          <a:pt x="0" y="0"/>
                        </a:moveTo>
                        <a:lnTo>
                          <a:pt x="161564" y="0"/>
                        </a:lnTo>
                        <a:lnTo>
                          <a:pt x="161564" y="6118"/>
                        </a:lnTo>
                        <a:lnTo>
                          <a:pt x="0" y="6118"/>
                        </a:lnTo>
                        <a:close/>
                      </a:path>
                    </a:pathLst>
                  </a:custGeom>
                  <a:solidFill>
                    <a:srgbClr val="0A827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0" name="Freihandform 439">
                    <a:extLst>
                      <a:ext uri="{FF2B5EF4-FFF2-40B4-BE49-F238E27FC236}">
                        <a16:creationId xmlns:a16="http://schemas.microsoft.com/office/drawing/2014/main" id="{3D96306A-8B09-857E-BADC-CB82ABF84A7A}"/>
                      </a:ext>
                    </a:extLst>
                  </p:cNvPr>
                  <p:cNvSpPr/>
                  <p:nvPr/>
                </p:nvSpPr>
                <p:spPr>
                  <a:xfrm>
                    <a:off x="8189048" y="6229711"/>
                    <a:ext cx="161563" cy="6118"/>
                  </a:xfrm>
                  <a:custGeom>
                    <a:avLst/>
                    <a:gdLst>
                      <a:gd name="connsiteX0" fmla="*/ 0 w 161563"/>
                      <a:gd name="connsiteY0" fmla="*/ 0 h 6118"/>
                      <a:gd name="connsiteX1" fmla="*/ 161564 w 161563"/>
                      <a:gd name="connsiteY1" fmla="*/ 0 h 6118"/>
                      <a:gd name="connsiteX2" fmla="*/ 161564 w 161563"/>
                      <a:gd name="connsiteY2" fmla="*/ 6118 h 6118"/>
                      <a:gd name="connsiteX3" fmla="*/ 0 w 161563"/>
                      <a:gd name="connsiteY3" fmla="*/ 6118 h 61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1563" h="6118">
                        <a:moveTo>
                          <a:pt x="0" y="0"/>
                        </a:moveTo>
                        <a:lnTo>
                          <a:pt x="161564" y="0"/>
                        </a:lnTo>
                        <a:lnTo>
                          <a:pt x="161564" y="6118"/>
                        </a:lnTo>
                        <a:lnTo>
                          <a:pt x="0" y="6118"/>
                        </a:lnTo>
                        <a:close/>
                      </a:path>
                    </a:pathLst>
                  </a:custGeom>
                  <a:solidFill>
                    <a:srgbClr val="0A827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441" name="Freihandform 440">
                <a:extLst>
                  <a:ext uri="{FF2B5EF4-FFF2-40B4-BE49-F238E27FC236}">
                    <a16:creationId xmlns:a16="http://schemas.microsoft.com/office/drawing/2014/main" id="{3D053A31-CBD5-1E24-B494-BBA5A94183E3}"/>
                  </a:ext>
                </a:extLst>
              </p:cNvPr>
              <p:cNvSpPr/>
              <p:nvPr/>
            </p:nvSpPr>
            <p:spPr>
              <a:xfrm>
                <a:off x="7999632" y="6125424"/>
                <a:ext cx="74242" cy="22070"/>
              </a:xfrm>
              <a:custGeom>
                <a:avLst/>
                <a:gdLst>
                  <a:gd name="connsiteX0" fmla="*/ 0 w 74242"/>
                  <a:gd name="connsiteY0" fmla="*/ 0 h 22070"/>
                  <a:gd name="connsiteX1" fmla="*/ 74242 w 74242"/>
                  <a:gd name="connsiteY1" fmla="*/ 0 h 22070"/>
                  <a:gd name="connsiteX2" fmla="*/ 74242 w 74242"/>
                  <a:gd name="connsiteY2" fmla="*/ 22071 h 22070"/>
                  <a:gd name="connsiteX3" fmla="*/ 0 w 74242"/>
                  <a:gd name="connsiteY3" fmla="*/ 22071 h 22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242" h="22070">
                    <a:moveTo>
                      <a:pt x="0" y="0"/>
                    </a:moveTo>
                    <a:lnTo>
                      <a:pt x="74242" y="0"/>
                    </a:lnTo>
                    <a:lnTo>
                      <a:pt x="74242" y="22071"/>
                    </a:lnTo>
                    <a:lnTo>
                      <a:pt x="0" y="22071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42" name="Grafik 5">
              <a:extLst>
                <a:ext uri="{FF2B5EF4-FFF2-40B4-BE49-F238E27FC236}">
                  <a16:creationId xmlns:a16="http://schemas.microsoft.com/office/drawing/2014/main" id="{7BC3AECD-D852-97E7-95FB-615EC3A8B3D3}"/>
                </a:ext>
              </a:extLst>
            </p:cNvPr>
            <p:cNvGrpSpPr/>
            <p:nvPr/>
          </p:nvGrpSpPr>
          <p:grpSpPr>
            <a:xfrm>
              <a:off x="8374812" y="5910669"/>
              <a:ext cx="166782" cy="185655"/>
              <a:chOff x="8374812" y="5910669"/>
              <a:chExt cx="166782" cy="185655"/>
            </a:xfrm>
          </p:grpSpPr>
          <p:sp>
            <p:nvSpPr>
              <p:cNvPr id="443" name="Freihandform 442">
                <a:extLst>
                  <a:ext uri="{FF2B5EF4-FFF2-40B4-BE49-F238E27FC236}">
                    <a16:creationId xmlns:a16="http://schemas.microsoft.com/office/drawing/2014/main" id="{33C9E6D8-E40C-9202-B5F8-C65AE80D10FD}"/>
                  </a:ext>
                </a:extLst>
              </p:cNvPr>
              <p:cNvSpPr/>
              <p:nvPr/>
            </p:nvSpPr>
            <p:spPr>
              <a:xfrm>
                <a:off x="8374812" y="5910669"/>
                <a:ext cx="166782" cy="185655"/>
              </a:xfrm>
              <a:custGeom>
                <a:avLst/>
                <a:gdLst>
                  <a:gd name="connsiteX0" fmla="*/ 83391 w 166782"/>
                  <a:gd name="connsiteY0" fmla="*/ 0 h 185655"/>
                  <a:gd name="connsiteX1" fmla="*/ 130236 w 166782"/>
                  <a:gd name="connsiteY1" fmla="*/ 11301 h 185655"/>
                  <a:gd name="connsiteX2" fmla="*/ 166783 w 166782"/>
                  <a:gd name="connsiteY2" fmla="*/ 20984 h 185655"/>
                  <a:gd name="connsiteX3" fmla="*/ 154285 w 166782"/>
                  <a:gd name="connsiteY3" fmla="*/ 104438 h 185655"/>
                  <a:gd name="connsiteX4" fmla="*/ 83391 w 166782"/>
                  <a:gd name="connsiteY4" fmla="*/ 185656 h 185655"/>
                  <a:gd name="connsiteX5" fmla="*/ 12498 w 166782"/>
                  <a:gd name="connsiteY5" fmla="*/ 104438 h 185655"/>
                  <a:gd name="connsiteX6" fmla="*/ 0 w 166782"/>
                  <a:gd name="connsiteY6" fmla="*/ 20984 h 185655"/>
                  <a:gd name="connsiteX7" fmla="*/ 36546 w 166782"/>
                  <a:gd name="connsiteY7" fmla="*/ 11301 h 185655"/>
                  <a:gd name="connsiteX8" fmla="*/ 83391 w 166782"/>
                  <a:gd name="connsiteY8" fmla="*/ 0 h 185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6782" h="185655">
                    <a:moveTo>
                      <a:pt x="83391" y="0"/>
                    </a:moveTo>
                    <a:cubicBezTo>
                      <a:pt x="88143" y="1011"/>
                      <a:pt x="103421" y="4386"/>
                      <a:pt x="130236" y="11301"/>
                    </a:cubicBezTo>
                    <a:cubicBezTo>
                      <a:pt x="149015" y="16142"/>
                      <a:pt x="160566" y="19264"/>
                      <a:pt x="166783" y="20984"/>
                    </a:cubicBezTo>
                    <a:cubicBezTo>
                      <a:pt x="166530" y="32651"/>
                      <a:pt x="164736" y="61472"/>
                      <a:pt x="154285" y="104438"/>
                    </a:cubicBezTo>
                    <a:cubicBezTo>
                      <a:pt x="144138" y="146204"/>
                      <a:pt x="107515" y="170638"/>
                      <a:pt x="83391" y="185656"/>
                    </a:cubicBezTo>
                    <a:cubicBezTo>
                      <a:pt x="59268" y="170626"/>
                      <a:pt x="22645" y="146191"/>
                      <a:pt x="12498" y="104438"/>
                    </a:cubicBezTo>
                    <a:cubicBezTo>
                      <a:pt x="2059" y="61460"/>
                      <a:pt x="253" y="32639"/>
                      <a:pt x="0" y="20984"/>
                    </a:cubicBezTo>
                    <a:cubicBezTo>
                      <a:pt x="6217" y="19264"/>
                      <a:pt x="17768" y="16142"/>
                      <a:pt x="36546" y="11301"/>
                    </a:cubicBezTo>
                    <a:cubicBezTo>
                      <a:pt x="63375" y="4386"/>
                      <a:pt x="78640" y="1011"/>
                      <a:pt x="83391" y="0"/>
                    </a:cubicBezTo>
                  </a:path>
                </a:pathLst>
              </a:custGeom>
              <a:solidFill>
                <a:srgbClr val="9BBA43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4" name="Freihandform 443">
                <a:extLst>
                  <a:ext uri="{FF2B5EF4-FFF2-40B4-BE49-F238E27FC236}">
                    <a16:creationId xmlns:a16="http://schemas.microsoft.com/office/drawing/2014/main" id="{2DEE6919-23DA-F8B2-A58C-09D47DF63BA8}"/>
                  </a:ext>
                </a:extLst>
              </p:cNvPr>
              <p:cNvSpPr/>
              <p:nvPr/>
            </p:nvSpPr>
            <p:spPr>
              <a:xfrm>
                <a:off x="8416034" y="5961372"/>
                <a:ext cx="93008" cy="72163"/>
              </a:xfrm>
              <a:custGeom>
                <a:avLst/>
                <a:gdLst>
                  <a:gd name="connsiteX0" fmla="*/ 33235 w 93008"/>
                  <a:gd name="connsiteY0" fmla="*/ 45229 h 72163"/>
                  <a:gd name="connsiteX1" fmla="*/ 34726 w 93008"/>
                  <a:gd name="connsiteY1" fmla="*/ 43800 h 72163"/>
                  <a:gd name="connsiteX2" fmla="*/ 77705 w 93008"/>
                  <a:gd name="connsiteY2" fmla="*/ 784 h 72163"/>
                  <a:gd name="connsiteX3" fmla="*/ 80750 w 93008"/>
                  <a:gd name="connsiteY3" fmla="*/ 733 h 72163"/>
                  <a:gd name="connsiteX4" fmla="*/ 92073 w 93008"/>
                  <a:gd name="connsiteY4" fmla="*/ 11895 h 72163"/>
                  <a:gd name="connsiteX5" fmla="*/ 93008 w 93008"/>
                  <a:gd name="connsiteY5" fmla="*/ 12982 h 72163"/>
                  <a:gd name="connsiteX6" fmla="*/ 91669 w 93008"/>
                  <a:gd name="connsiteY6" fmla="*/ 14449 h 72163"/>
                  <a:gd name="connsiteX7" fmla="*/ 34790 w 93008"/>
                  <a:gd name="connsiteY7" fmla="*/ 71383 h 72163"/>
                  <a:gd name="connsiteX8" fmla="*/ 31630 w 93008"/>
                  <a:gd name="connsiteY8" fmla="*/ 71370 h 72163"/>
                  <a:gd name="connsiteX9" fmla="*/ 884 w 93008"/>
                  <a:gd name="connsiteY9" fmla="*/ 40931 h 72163"/>
                  <a:gd name="connsiteX10" fmla="*/ 834 w 93008"/>
                  <a:gd name="connsiteY10" fmla="*/ 38074 h 72163"/>
                  <a:gd name="connsiteX11" fmla="*/ 12182 w 93008"/>
                  <a:gd name="connsiteY11" fmla="*/ 26938 h 72163"/>
                  <a:gd name="connsiteX12" fmla="*/ 14684 w 93008"/>
                  <a:gd name="connsiteY12" fmla="*/ 27013 h 72163"/>
                  <a:gd name="connsiteX13" fmla="*/ 31718 w 93008"/>
                  <a:gd name="connsiteY13" fmla="*/ 43826 h 72163"/>
                  <a:gd name="connsiteX14" fmla="*/ 33222 w 93008"/>
                  <a:gd name="connsiteY14" fmla="*/ 45242 h 72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3008" h="72163">
                    <a:moveTo>
                      <a:pt x="33235" y="45229"/>
                    </a:moveTo>
                    <a:cubicBezTo>
                      <a:pt x="33804" y="44685"/>
                      <a:pt x="34271" y="44256"/>
                      <a:pt x="34726" y="43800"/>
                    </a:cubicBezTo>
                    <a:cubicBezTo>
                      <a:pt x="49056" y="29466"/>
                      <a:pt x="63374" y="15119"/>
                      <a:pt x="77705" y="784"/>
                    </a:cubicBezTo>
                    <a:cubicBezTo>
                      <a:pt x="78724" y="-244"/>
                      <a:pt x="79740" y="-261"/>
                      <a:pt x="80750" y="733"/>
                    </a:cubicBezTo>
                    <a:cubicBezTo>
                      <a:pt x="84529" y="4450"/>
                      <a:pt x="88307" y="8166"/>
                      <a:pt x="92073" y="11895"/>
                    </a:cubicBezTo>
                    <a:cubicBezTo>
                      <a:pt x="92377" y="12198"/>
                      <a:pt x="92642" y="12540"/>
                      <a:pt x="93008" y="12982"/>
                    </a:cubicBezTo>
                    <a:cubicBezTo>
                      <a:pt x="92541" y="13500"/>
                      <a:pt x="92124" y="13993"/>
                      <a:pt x="91669" y="14449"/>
                    </a:cubicBezTo>
                    <a:cubicBezTo>
                      <a:pt x="72713" y="33435"/>
                      <a:pt x="53758" y="52409"/>
                      <a:pt x="34790" y="71383"/>
                    </a:cubicBezTo>
                    <a:cubicBezTo>
                      <a:pt x="33745" y="72428"/>
                      <a:pt x="32692" y="72424"/>
                      <a:pt x="31630" y="71370"/>
                    </a:cubicBezTo>
                    <a:cubicBezTo>
                      <a:pt x="21381" y="61220"/>
                      <a:pt x="11159" y="51044"/>
                      <a:pt x="884" y="40931"/>
                    </a:cubicBezTo>
                    <a:cubicBezTo>
                      <a:pt x="-215" y="39857"/>
                      <a:pt x="-354" y="39199"/>
                      <a:pt x="834" y="38074"/>
                    </a:cubicBezTo>
                    <a:cubicBezTo>
                      <a:pt x="4676" y="34434"/>
                      <a:pt x="8454" y="30705"/>
                      <a:pt x="12182" y="26938"/>
                    </a:cubicBezTo>
                    <a:cubicBezTo>
                      <a:pt x="13180" y="25926"/>
                      <a:pt x="13774" y="26103"/>
                      <a:pt x="14684" y="27013"/>
                    </a:cubicBezTo>
                    <a:cubicBezTo>
                      <a:pt x="20332" y="32651"/>
                      <a:pt x="26032" y="38226"/>
                      <a:pt x="31718" y="43826"/>
                    </a:cubicBezTo>
                    <a:cubicBezTo>
                      <a:pt x="32173" y="44281"/>
                      <a:pt x="32654" y="44711"/>
                      <a:pt x="33222" y="452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445" name="Freihandform 444">
            <a:extLst>
              <a:ext uri="{FF2B5EF4-FFF2-40B4-BE49-F238E27FC236}">
                <a16:creationId xmlns:a16="http://schemas.microsoft.com/office/drawing/2014/main" id="{74E8E4CF-E1D8-48F0-D613-624AADAC8B53}"/>
              </a:ext>
            </a:extLst>
          </p:cNvPr>
          <p:cNvSpPr/>
          <p:nvPr/>
        </p:nvSpPr>
        <p:spPr>
          <a:xfrm>
            <a:off x="1836851" y="2339574"/>
            <a:ext cx="3582131" cy="3583217"/>
          </a:xfrm>
          <a:custGeom>
            <a:avLst/>
            <a:gdLst>
              <a:gd name="connsiteX0" fmla="*/ 3582132 w 3582131"/>
              <a:gd name="connsiteY0" fmla="*/ 1791609 h 3583217"/>
              <a:gd name="connsiteX1" fmla="*/ 1791066 w 3582131"/>
              <a:gd name="connsiteY1" fmla="*/ 3583218 h 3583217"/>
              <a:gd name="connsiteX2" fmla="*/ 0 w 3582131"/>
              <a:gd name="connsiteY2" fmla="*/ 1791609 h 3583217"/>
              <a:gd name="connsiteX3" fmla="*/ 1791066 w 3582131"/>
              <a:gd name="connsiteY3" fmla="*/ 0 h 3583217"/>
              <a:gd name="connsiteX4" fmla="*/ 3582132 w 3582131"/>
              <a:gd name="connsiteY4" fmla="*/ 1791609 h 358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82131" h="3583217">
                <a:moveTo>
                  <a:pt x="3582132" y="1791609"/>
                </a:moveTo>
                <a:cubicBezTo>
                  <a:pt x="3582132" y="2781087"/>
                  <a:pt x="2780244" y="3583218"/>
                  <a:pt x="1791066" y="3583218"/>
                </a:cubicBezTo>
                <a:cubicBezTo>
                  <a:pt x="801887" y="3583218"/>
                  <a:pt x="0" y="2781087"/>
                  <a:pt x="0" y="1791609"/>
                </a:cubicBezTo>
                <a:cubicBezTo>
                  <a:pt x="0" y="802131"/>
                  <a:pt x="801887" y="0"/>
                  <a:pt x="1791066" y="0"/>
                </a:cubicBezTo>
                <a:cubicBezTo>
                  <a:pt x="2780244" y="0"/>
                  <a:pt x="3582132" y="802131"/>
                  <a:pt x="3582132" y="1791609"/>
                </a:cubicBezTo>
                <a:close/>
              </a:path>
            </a:pathLst>
          </a:custGeom>
          <a:solidFill>
            <a:srgbClr val="B8DED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46" name="Freihandform 445">
            <a:extLst>
              <a:ext uri="{FF2B5EF4-FFF2-40B4-BE49-F238E27FC236}">
                <a16:creationId xmlns:a16="http://schemas.microsoft.com/office/drawing/2014/main" id="{AAD3CF03-B30C-A851-61C1-55711323DA08}"/>
              </a:ext>
            </a:extLst>
          </p:cNvPr>
          <p:cNvSpPr/>
          <p:nvPr/>
        </p:nvSpPr>
        <p:spPr>
          <a:xfrm>
            <a:off x="2179010" y="3024113"/>
            <a:ext cx="2897813" cy="2898692"/>
          </a:xfrm>
          <a:custGeom>
            <a:avLst/>
            <a:gdLst>
              <a:gd name="connsiteX0" fmla="*/ 2897814 w 2897813"/>
              <a:gd name="connsiteY0" fmla="*/ 1449346 h 2898692"/>
              <a:gd name="connsiteX1" fmla="*/ 1448907 w 2897813"/>
              <a:gd name="connsiteY1" fmla="*/ 2898692 h 2898692"/>
              <a:gd name="connsiteX2" fmla="*/ 0 w 2897813"/>
              <a:gd name="connsiteY2" fmla="*/ 1449346 h 2898692"/>
              <a:gd name="connsiteX3" fmla="*/ 1448907 w 2897813"/>
              <a:gd name="connsiteY3" fmla="*/ 0 h 2898692"/>
              <a:gd name="connsiteX4" fmla="*/ 2897814 w 2897813"/>
              <a:gd name="connsiteY4" fmla="*/ 1449346 h 2898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97813" h="2898692">
                <a:moveTo>
                  <a:pt x="2897814" y="1449346"/>
                </a:moveTo>
                <a:cubicBezTo>
                  <a:pt x="2897814" y="2249798"/>
                  <a:pt x="2249116" y="2898692"/>
                  <a:pt x="1448907" y="2898692"/>
                </a:cubicBezTo>
                <a:cubicBezTo>
                  <a:pt x="648698" y="2898692"/>
                  <a:pt x="0" y="2249798"/>
                  <a:pt x="0" y="1449346"/>
                </a:cubicBezTo>
                <a:cubicBezTo>
                  <a:pt x="0" y="648894"/>
                  <a:pt x="648698" y="0"/>
                  <a:pt x="1448907" y="0"/>
                </a:cubicBezTo>
                <a:cubicBezTo>
                  <a:pt x="2249116" y="0"/>
                  <a:pt x="2897814" y="648894"/>
                  <a:pt x="2897814" y="1449346"/>
                </a:cubicBezTo>
                <a:close/>
              </a:path>
            </a:pathLst>
          </a:custGeom>
          <a:solidFill>
            <a:srgbClr val="6CB4A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47" name="Freihandform 446">
            <a:extLst>
              <a:ext uri="{FF2B5EF4-FFF2-40B4-BE49-F238E27FC236}">
                <a16:creationId xmlns:a16="http://schemas.microsoft.com/office/drawing/2014/main" id="{2E09B0C1-65E3-3B9B-C925-FC653C7757FA}"/>
              </a:ext>
            </a:extLst>
          </p:cNvPr>
          <p:cNvSpPr/>
          <p:nvPr/>
        </p:nvSpPr>
        <p:spPr>
          <a:xfrm>
            <a:off x="2554884" y="3776090"/>
            <a:ext cx="2146064" cy="2146714"/>
          </a:xfrm>
          <a:custGeom>
            <a:avLst/>
            <a:gdLst>
              <a:gd name="connsiteX0" fmla="*/ 2146064 w 2146064"/>
              <a:gd name="connsiteY0" fmla="*/ 1073358 h 2146714"/>
              <a:gd name="connsiteX1" fmla="*/ 1073032 w 2146064"/>
              <a:gd name="connsiteY1" fmla="*/ 2146715 h 2146714"/>
              <a:gd name="connsiteX2" fmla="*/ 0 w 2146064"/>
              <a:gd name="connsiteY2" fmla="*/ 1073358 h 2146714"/>
              <a:gd name="connsiteX3" fmla="*/ 1073032 w 2146064"/>
              <a:gd name="connsiteY3" fmla="*/ 0 h 2146714"/>
              <a:gd name="connsiteX4" fmla="*/ 2146064 w 2146064"/>
              <a:gd name="connsiteY4" fmla="*/ 1073358 h 2146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46064" h="2146714">
                <a:moveTo>
                  <a:pt x="2146064" y="1073358"/>
                </a:moveTo>
                <a:cubicBezTo>
                  <a:pt x="2146064" y="1666157"/>
                  <a:pt x="1665651" y="2146715"/>
                  <a:pt x="1073032" y="2146715"/>
                </a:cubicBezTo>
                <a:cubicBezTo>
                  <a:pt x="480413" y="2146715"/>
                  <a:pt x="0" y="1666157"/>
                  <a:pt x="0" y="1073358"/>
                </a:cubicBezTo>
                <a:cubicBezTo>
                  <a:pt x="0" y="480559"/>
                  <a:pt x="480413" y="0"/>
                  <a:pt x="1073032" y="0"/>
                </a:cubicBezTo>
                <a:cubicBezTo>
                  <a:pt x="1665651" y="0"/>
                  <a:pt x="2146064" y="480559"/>
                  <a:pt x="2146064" y="1073358"/>
                </a:cubicBezTo>
                <a:close/>
              </a:path>
            </a:pathLst>
          </a:custGeom>
          <a:solidFill>
            <a:srgbClr val="3B9B9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48" name="Freihandform 447">
            <a:extLst>
              <a:ext uri="{FF2B5EF4-FFF2-40B4-BE49-F238E27FC236}">
                <a16:creationId xmlns:a16="http://schemas.microsoft.com/office/drawing/2014/main" id="{A55BD143-6612-60C9-5A46-4D793D917305}"/>
              </a:ext>
            </a:extLst>
          </p:cNvPr>
          <p:cNvSpPr/>
          <p:nvPr/>
        </p:nvSpPr>
        <p:spPr>
          <a:xfrm>
            <a:off x="2916795" y="4500131"/>
            <a:ext cx="1422242" cy="1422673"/>
          </a:xfrm>
          <a:custGeom>
            <a:avLst/>
            <a:gdLst>
              <a:gd name="connsiteX0" fmla="*/ 1422243 w 1422242"/>
              <a:gd name="connsiteY0" fmla="*/ 711337 h 1422673"/>
              <a:gd name="connsiteX1" fmla="*/ 711122 w 1422242"/>
              <a:gd name="connsiteY1" fmla="*/ 1422674 h 1422673"/>
              <a:gd name="connsiteX2" fmla="*/ 0 w 1422242"/>
              <a:gd name="connsiteY2" fmla="*/ 711337 h 1422673"/>
              <a:gd name="connsiteX3" fmla="*/ 711122 w 1422242"/>
              <a:gd name="connsiteY3" fmla="*/ 0 h 1422673"/>
              <a:gd name="connsiteX4" fmla="*/ 1422243 w 1422242"/>
              <a:gd name="connsiteY4" fmla="*/ 711337 h 1422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2242" h="1422673">
                <a:moveTo>
                  <a:pt x="1422243" y="711337"/>
                </a:moveTo>
                <a:cubicBezTo>
                  <a:pt x="1422243" y="1104197"/>
                  <a:pt x="1103863" y="1422674"/>
                  <a:pt x="711122" y="1422674"/>
                </a:cubicBezTo>
                <a:cubicBezTo>
                  <a:pt x="318380" y="1422674"/>
                  <a:pt x="0" y="1104198"/>
                  <a:pt x="0" y="711337"/>
                </a:cubicBezTo>
                <a:cubicBezTo>
                  <a:pt x="0" y="318476"/>
                  <a:pt x="318380" y="0"/>
                  <a:pt x="711122" y="0"/>
                </a:cubicBezTo>
                <a:cubicBezTo>
                  <a:pt x="1103863" y="0"/>
                  <a:pt x="1422243" y="318476"/>
                  <a:pt x="1422243" y="711337"/>
                </a:cubicBezTo>
                <a:close/>
              </a:path>
            </a:pathLst>
          </a:custGeom>
          <a:solidFill>
            <a:srgbClr val="0A8276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449" name="Grafik 5">
            <a:extLst>
              <a:ext uri="{FF2B5EF4-FFF2-40B4-BE49-F238E27FC236}">
                <a16:creationId xmlns:a16="http://schemas.microsoft.com/office/drawing/2014/main" id="{C6181F44-267F-4705-3976-F45507AE87E8}"/>
              </a:ext>
            </a:extLst>
          </p:cNvPr>
          <p:cNvGrpSpPr/>
          <p:nvPr/>
        </p:nvGrpSpPr>
        <p:grpSpPr>
          <a:xfrm>
            <a:off x="3409208" y="5335158"/>
            <a:ext cx="437404" cy="437524"/>
            <a:chOff x="3409208" y="5335158"/>
            <a:chExt cx="437404" cy="437524"/>
          </a:xfrm>
        </p:grpSpPr>
        <p:grpSp>
          <p:nvGrpSpPr>
            <p:cNvPr id="450" name="Grafik 5">
              <a:extLst>
                <a:ext uri="{FF2B5EF4-FFF2-40B4-BE49-F238E27FC236}">
                  <a16:creationId xmlns:a16="http://schemas.microsoft.com/office/drawing/2014/main" id="{47A6B17E-EFCF-BA7E-6746-EDBD28D812F9}"/>
                </a:ext>
              </a:extLst>
            </p:cNvPr>
            <p:cNvGrpSpPr/>
            <p:nvPr/>
          </p:nvGrpSpPr>
          <p:grpSpPr>
            <a:xfrm>
              <a:off x="3469575" y="5335158"/>
              <a:ext cx="316682" cy="437524"/>
              <a:chOff x="3469575" y="5335158"/>
              <a:chExt cx="316682" cy="437524"/>
            </a:xfrm>
            <a:solidFill>
              <a:srgbClr val="9BBA43"/>
            </a:solidFill>
          </p:grpSpPr>
          <p:grpSp>
            <p:nvGrpSpPr>
              <p:cNvPr id="451" name="Grafik 5">
                <a:extLst>
                  <a:ext uri="{FF2B5EF4-FFF2-40B4-BE49-F238E27FC236}">
                    <a16:creationId xmlns:a16="http://schemas.microsoft.com/office/drawing/2014/main" id="{7D3DCD11-BF2A-7DAE-2857-22D38991A88D}"/>
                  </a:ext>
                </a:extLst>
              </p:cNvPr>
              <p:cNvGrpSpPr/>
              <p:nvPr/>
            </p:nvGrpSpPr>
            <p:grpSpPr>
              <a:xfrm>
                <a:off x="3469575" y="5738021"/>
                <a:ext cx="316682" cy="34661"/>
                <a:chOff x="3469575" y="5738021"/>
                <a:chExt cx="316682" cy="34661"/>
              </a:xfrm>
              <a:solidFill>
                <a:srgbClr val="9BBA43"/>
              </a:solidFill>
            </p:grpSpPr>
            <p:sp>
              <p:nvSpPr>
                <p:cNvPr id="452" name="Freihandform 451">
                  <a:extLst>
                    <a:ext uri="{FF2B5EF4-FFF2-40B4-BE49-F238E27FC236}">
                      <a16:creationId xmlns:a16="http://schemas.microsoft.com/office/drawing/2014/main" id="{BCCA9AA2-02F1-1F81-57FD-23693EFC38AD}"/>
                    </a:ext>
                  </a:extLst>
                </p:cNvPr>
                <p:cNvSpPr/>
                <p:nvPr/>
              </p:nvSpPr>
              <p:spPr>
                <a:xfrm>
                  <a:off x="3469575" y="5738021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3" name="Freihandform 452">
                  <a:extLst>
                    <a:ext uri="{FF2B5EF4-FFF2-40B4-BE49-F238E27FC236}">
                      <a16:creationId xmlns:a16="http://schemas.microsoft.com/office/drawing/2014/main" id="{D3BE4437-412B-3DC7-840A-DFCFC28A549C}"/>
                    </a:ext>
                  </a:extLst>
                </p:cNvPr>
                <p:cNvSpPr/>
                <p:nvPr/>
              </p:nvSpPr>
              <p:spPr>
                <a:xfrm>
                  <a:off x="3519087" y="5738021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4" name="Freihandform 453">
                  <a:extLst>
                    <a:ext uri="{FF2B5EF4-FFF2-40B4-BE49-F238E27FC236}">
                      <a16:creationId xmlns:a16="http://schemas.microsoft.com/office/drawing/2014/main" id="{7AAE2A97-E027-8661-A08F-26A43A59C2C8}"/>
                    </a:ext>
                  </a:extLst>
                </p:cNvPr>
                <p:cNvSpPr/>
                <p:nvPr/>
              </p:nvSpPr>
              <p:spPr>
                <a:xfrm>
                  <a:off x="3568611" y="5738021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5" name="Freihandform 454">
                  <a:extLst>
                    <a:ext uri="{FF2B5EF4-FFF2-40B4-BE49-F238E27FC236}">
                      <a16:creationId xmlns:a16="http://schemas.microsoft.com/office/drawing/2014/main" id="{0415BCD5-955F-BB3B-4168-7DD5F1978958}"/>
                    </a:ext>
                  </a:extLst>
                </p:cNvPr>
                <p:cNvSpPr/>
                <p:nvPr/>
              </p:nvSpPr>
              <p:spPr>
                <a:xfrm>
                  <a:off x="3618123" y="5738021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6" name="Freihandform 455">
                  <a:extLst>
                    <a:ext uri="{FF2B5EF4-FFF2-40B4-BE49-F238E27FC236}">
                      <a16:creationId xmlns:a16="http://schemas.microsoft.com/office/drawing/2014/main" id="{0C2F8F58-84C6-0F3C-3FF8-9E9309967E97}"/>
                    </a:ext>
                  </a:extLst>
                </p:cNvPr>
                <p:cNvSpPr/>
                <p:nvPr/>
              </p:nvSpPr>
              <p:spPr>
                <a:xfrm>
                  <a:off x="3667647" y="5738021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7" name="Freihandform 456">
                  <a:extLst>
                    <a:ext uri="{FF2B5EF4-FFF2-40B4-BE49-F238E27FC236}">
                      <a16:creationId xmlns:a16="http://schemas.microsoft.com/office/drawing/2014/main" id="{ABDC41CE-DD39-CA51-D9A4-B7CC528FA3DB}"/>
                    </a:ext>
                  </a:extLst>
                </p:cNvPr>
                <p:cNvSpPr/>
                <p:nvPr/>
              </p:nvSpPr>
              <p:spPr>
                <a:xfrm>
                  <a:off x="3717159" y="5738021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8" name="Freihandform 457">
                  <a:extLst>
                    <a:ext uri="{FF2B5EF4-FFF2-40B4-BE49-F238E27FC236}">
                      <a16:creationId xmlns:a16="http://schemas.microsoft.com/office/drawing/2014/main" id="{09731098-C773-8237-DD5F-4405DFCBAEEC}"/>
                    </a:ext>
                  </a:extLst>
                </p:cNvPr>
                <p:cNvSpPr/>
                <p:nvPr/>
              </p:nvSpPr>
              <p:spPr>
                <a:xfrm>
                  <a:off x="3766683" y="5738021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9" name="Grafik 5">
                <a:extLst>
                  <a:ext uri="{FF2B5EF4-FFF2-40B4-BE49-F238E27FC236}">
                    <a16:creationId xmlns:a16="http://schemas.microsoft.com/office/drawing/2014/main" id="{A54DEB0B-1936-80AB-D5ED-D253A84039DA}"/>
                  </a:ext>
                </a:extLst>
              </p:cNvPr>
              <p:cNvGrpSpPr/>
              <p:nvPr/>
            </p:nvGrpSpPr>
            <p:grpSpPr>
              <a:xfrm>
                <a:off x="3469575" y="5335158"/>
                <a:ext cx="316682" cy="34661"/>
                <a:chOff x="3469575" y="5335158"/>
                <a:chExt cx="316682" cy="34661"/>
              </a:xfrm>
              <a:solidFill>
                <a:srgbClr val="9BBA43"/>
              </a:solidFill>
            </p:grpSpPr>
            <p:sp>
              <p:nvSpPr>
                <p:cNvPr id="460" name="Freihandform 459">
                  <a:extLst>
                    <a:ext uri="{FF2B5EF4-FFF2-40B4-BE49-F238E27FC236}">
                      <a16:creationId xmlns:a16="http://schemas.microsoft.com/office/drawing/2014/main" id="{4F2E4BB9-262A-EABA-D2DB-BA1AF5CAD351}"/>
                    </a:ext>
                  </a:extLst>
                </p:cNvPr>
                <p:cNvSpPr/>
                <p:nvPr/>
              </p:nvSpPr>
              <p:spPr>
                <a:xfrm>
                  <a:off x="3469575" y="5335158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1" name="Freihandform 460">
                  <a:extLst>
                    <a:ext uri="{FF2B5EF4-FFF2-40B4-BE49-F238E27FC236}">
                      <a16:creationId xmlns:a16="http://schemas.microsoft.com/office/drawing/2014/main" id="{52BC195C-B9C4-13C1-D503-1B4B1CCA7A1C}"/>
                    </a:ext>
                  </a:extLst>
                </p:cNvPr>
                <p:cNvSpPr/>
                <p:nvPr/>
              </p:nvSpPr>
              <p:spPr>
                <a:xfrm>
                  <a:off x="3519087" y="5335158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2" name="Freihandform 461">
                  <a:extLst>
                    <a:ext uri="{FF2B5EF4-FFF2-40B4-BE49-F238E27FC236}">
                      <a16:creationId xmlns:a16="http://schemas.microsoft.com/office/drawing/2014/main" id="{7C7E8249-DCF7-3E2D-78A5-0E1BDA625995}"/>
                    </a:ext>
                  </a:extLst>
                </p:cNvPr>
                <p:cNvSpPr/>
                <p:nvPr/>
              </p:nvSpPr>
              <p:spPr>
                <a:xfrm>
                  <a:off x="3568611" y="5335158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3" name="Freihandform 462">
                  <a:extLst>
                    <a:ext uri="{FF2B5EF4-FFF2-40B4-BE49-F238E27FC236}">
                      <a16:creationId xmlns:a16="http://schemas.microsoft.com/office/drawing/2014/main" id="{48A53C01-2866-A5D6-DE12-743751BB94C5}"/>
                    </a:ext>
                  </a:extLst>
                </p:cNvPr>
                <p:cNvSpPr/>
                <p:nvPr/>
              </p:nvSpPr>
              <p:spPr>
                <a:xfrm>
                  <a:off x="3618123" y="5335158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4" name="Freihandform 463">
                  <a:extLst>
                    <a:ext uri="{FF2B5EF4-FFF2-40B4-BE49-F238E27FC236}">
                      <a16:creationId xmlns:a16="http://schemas.microsoft.com/office/drawing/2014/main" id="{107C016C-C3C2-EEDC-4835-4F6060611494}"/>
                    </a:ext>
                  </a:extLst>
                </p:cNvPr>
                <p:cNvSpPr/>
                <p:nvPr/>
              </p:nvSpPr>
              <p:spPr>
                <a:xfrm>
                  <a:off x="3667647" y="5335158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5" name="Freihandform 464">
                  <a:extLst>
                    <a:ext uri="{FF2B5EF4-FFF2-40B4-BE49-F238E27FC236}">
                      <a16:creationId xmlns:a16="http://schemas.microsoft.com/office/drawing/2014/main" id="{1C3AA626-82EF-28FA-ABC9-5BC4FC93C814}"/>
                    </a:ext>
                  </a:extLst>
                </p:cNvPr>
                <p:cNvSpPr/>
                <p:nvPr/>
              </p:nvSpPr>
              <p:spPr>
                <a:xfrm>
                  <a:off x="3717159" y="5335158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6" name="Freihandform 465">
                  <a:extLst>
                    <a:ext uri="{FF2B5EF4-FFF2-40B4-BE49-F238E27FC236}">
                      <a16:creationId xmlns:a16="http://schemas.microsoft.com/office/drawing/2014/main" id="{05B6812C-1D6F-3A20-4558-65786CDA7BF8}"/>
                    </a:ext>
                  </a:extLst>
                </p:cNvPr>
                <p:cNvSpPr/>
                <p:nvPr/>
              </p:nvSpPr>
              <p:spPr>
                <a:xfrm>
                  <a:off x="3766683" y="5335158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467" name="Grafik 5">
              <a:extLst>
                <a:ext uri="{FF2B5EF4-FFF2-40B4-BE49-F238E27FC236}">
                  <a16:creationId xmlns:a16="http://schemas.microsoft.com/office/drawing/2014/main" id="{79D67058-3EF7-4150-919E-C22FB1E880BA}"/>
                </a:ext>
              </a:extLst>
            </p:cNvPr>
            <p:cNvGrpSpPr/>
            <p:nvPr/>
          </p:nvGrpSpPr>
          <p:grpSpPr>
            <a:xfrm>
              <a:off x="3409208" y="5395518"/>
              <a:ext cx="437404" cy="316791"/>
              <a:chOff x="3409208" y="5395518"/>
              <a:chExt cx="437404" cy="316791"/>
            </a:xfrm>
            <a:solidFill>
              <a:srgbClr val="9BBA43"/>
            </a:solidFill>
          </p:grpSpPr>
          <p:grpSp>
            <p:nvGrpSpPr>
              <p:cNvPr id="468" name="Grafik 5">
                <a:extLst>
                  <a:ext uri="{FF2B5EF4-FFF2-40B4-BE49-F238E27FC236}">
                    <a16:creationId xmlns:a16="http://schemas.microsoft.com/office/drawing/2014/main" id="{CA58B288-B581-0755-958F-DD86DAA6D6C8}"/>
                  </a:ext>
                </a:extLst>
              </p:cNvPr>
              <p:cNvGrpSpPr/>
              <p:nvPr/>
            </p:nvGrpSpPr>
            <p:grpSpPr>
              <a:xfrm>
                <a:off x="3409208" y="5395531"/>
                <a:ext cx="34663" cy="316778"/>
                <a:chOff x="3409208" y="5395531"/>
                <a:chExt cx="34663" cy="316778"/>
              </a:xfrm>
              <a:solidFill>
                <a:srgbClr val="9BBA43"/>
              </a:solidFill>
            </p:grpSpPr>
            <p:sp>
              <p:nvSpPr>
                <p:cNvPr id="469" name="Freihandform 468">
                  <a:extLst>
                    <a:ext uri="{FF2B5EF4-FFF2-40B4-BE49-F238E27FC236}">
                      <a16:creationId xmlns:a16="http://schemas.microsoft.com/office/drawing/2014/main" id="{F2CD7F58-11A4-2D74-937A-F05DDAB263BD}"/>
                    </a:ext>
                  </a:extLst>
                </p:cNvPr>
                <p:cNvSpPr/>
                <p:nvPr/>
              </p:nvSpPr>
              <p:spPr>
                <a:xfrm rot="5400000">
                  <a:off x="3416759" y="5387990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0" name="Freihandform 469">
                  <a:extLst>
                    <a:ext uri="{FF2B5EF4-FFF2-40B4-BE49-F238E27FC236}">
                      <a16:creationId xmlns:a16="http://schemas.microsoft.com/office/drawing/2014/main" id="{C2AF4BC6-A7AA-4C36-F730-41ACE124C36B}"/>
                    </a:ext>
                  </a:extLst>
                </p:cNvPr>
                <p:cNvSpPr/>
                <p:nvPr/>
              </p:nvSpPr>
              <p:spPr>
                <a:xfrm rot="5400000">
                  <a:off x="3416746" y="5437517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1" name="Freihandform 470">
                  <a:extLst>
                    <a:ext uri="{FF2B5EF4-FFF2-40B4-BE49-F238E27FC236}">
                      <a16:creationId xmlns:a16="http://schemas.microsoft.com/office/drawing/2014/main" id="{4A44503B-E3EA-3307-9A36-E2F616011001}"/>
                    </a:ext>
                  </a:extLst>
                </p:cNvPr>
                <p:cNvSpPr/>
                <p:nvPr/>
              </p:nvSpPr>
              <p:spPr>
                <a:xfrm rot="5400000">
                  <a:off x="3416759" y="5487056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2" name="Freihandform 471">
                  <a:extLst>
                    <a:ext uri="{FF2B5EF4-FFF2-40B4-BE49-F238E27FC236}">
                      <a16:creationId xmlns:a16="http://schemas.microsoft.com/office/drawing/2014/main" id="{DDDF5BD3-9AA5-BD5F-E486-2C54DD728CBE}"/>
                    </a:ext>
                  </a:extLst>
                </p:cNvPr>
                <p:cNvSpPr/>
                <p:nvPr/>
              </p:nvSpPr>
              <p:spPr>
                <a:xfrm rot="5400000">
                  <a:off x="3416746" y="5536583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3" name="Freihandform 472">
                  <a:extLst>
                    <a:ext uri="{FF2B5EF4-FFF2-40B4-BE49-F238E27FC236}">
                      <a16:creationId xmlns:a16="http://schemas.microsoft.com/office/drawing/2014/main" id="{A555A37C-C20B-BD20-AAB8-2BB5A6A88EAB}"/>
                    </a:ext>
                  </a:extLst>
                </p:cNvPr>
                <p:cNvSpPr/>
                <p:nvPr/>
              </p:nvSpPr>
              <p:spPr>
                <a:xfrm rot="5400000">
                  <a:off x="3416759" y="5586123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4" name="Freihandform 473">
                  <a:extLst>
                    <a:ext uri="{FF2B5EF4-FFF2-40B4-BE49-F238E27FC236}">
                      <a16:creationId xmlns:a16="http://schemas.microsoft.com/office/drawing/2014/main" id="{61FA0FEB-893B-92D9-E7CD-86B01DFE9019}"/>
                    </a:ext>
                  </a:extLst>
                </p:cNvPr>
                <p:cNvSpPr/>
                <p:nvPr/>
              </p:nvSpPr>
              <p:spPr>
                <a:xfrm rot="5400000">
                  <a:off x="3416746" y="5635649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5" name="Freihandform 474">
                  <a:extLst>
                    <a:ext uri="{FF2B5EF4-FFF2-40B4-BE49-F238E27FC236}">
                      <a16:creationId xmlns:a16="http://schemas.microsoft.com/office/drawing/2014/main" id="{02E82308-DB3E-0E8D-3A7E-225B47CA8552}"/>
                    </a:ext>
                  </a:extLst>
                </p:cNvPr>
                <p:cNvSpPr/>
                <p:nvPr/>
              </p:nvSpPr>
              <p:spPr>
                <a:xfrm rot="5400000">
                  <a:off x="3416759" y="5685189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6" name="Grafik 5">
                <a:extLst>
                  <a:ext uri="{FF2B5EF4-FFF2-40B4-BE49-F238E27FC236}">
                    <a16:creationId xmlns:a16="http://schemas.microsoft.com/office/drawing/2014/main" id="{466E03C2-4AC3-4996-DF6C-524FA8B2BD6A}"/>
                  </a:ext>
                </a:extLst>
              </p:cNvPr>
              <p:cNvGrpSpPr/>
              <p:nvPr/>
            </p:nvGrpSpPr>
            <p:grpSpPr>
              <a:xfrm>
                <a:off x="3811961" y="5395518"/>
                <a:ext cx="34650" cy="316778"/>
                <a:chOff x="3811961" y="5395518"/>
                <a:chExt cx="34650" cy="316778"/>
              </a:xfrm>
              <a:solidFill>
                <a:srgbClr val="9BBA43"/>
              </a:solidFill>
            </p:grpSpPr>
            <p:sp>
              <p:nvSpPr>
                <p:cNvPr id="477" name="Freihandform 476">
                  <a:extLst>
                    <a:ext uri="{FF2B5EF4-FFF2-40B4-BE49-F238E27FC236}">
                      <a16:creationId xmlns:a16="http://schemas.microsoft.com/office/drawing/2014/main" id="{89D24418-A66B-026E-D437-4128A5135DF8}"/>
                    </a:ext>
                  </a:extLst>
                </p:cNvPr>
                <p:cNvSpPr/>
                <p:nvPr/>
              </p:nvSpPr>
              <p:spPr>
                <a:xfrm rot="5400000">
                  <a:off x="3819499" y="5387978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8" name="Freihandform 477">
                  <a:extLst>
                    <a:ext uri="{FF2B5EF4-FFF2-40B4-BE49-F238E27FC236}">
                      <a16:creationId xmlns:a16="http://schemas.microsoft.com/office/drawing/2014/main" id="{17F93758-7E74-B7DC-9BCA-995471BFF8F9}"/>
                    </a:ext>
                  </a:extLst>
                </p:cNvPr>
                <p:cNvSpPr/>
                <p:nvPr/>
              </p:nvSpPr>
              <p:spPr>
                <a:xfrm rot="5400000">
                  <a:off x="3819499" y="5437517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9" name="Freihandform 478">
                  <a:extLst>
                    <a:ext uri="{FF2B5EF4-FFF2-40B4-BE49-F238E27FC236}">
                      <a16:creationId xmlns:a16="http://schemas.microsoft.com/office/drawing/2014/main" id="{68EAC96F-098A-1C71-99D8-243C4746E0BA}"/>
                    </a:ext>
                  </a:extLst>
                </p:cNvPr>
                <p:cNvSpPr/>
                <p:nvPr/>
              </p:nvSpPr>
              <p:spPr>
                <a:xfrm rot="5400000">
                  <a:off x="3819499" y="5487044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0" name="Freihandform 479">
                  <a:extLst>
                    <a:ext uri="{FF2B5EF4-FFF2-40B4-BE49-F238E27FC236}">
                      <a16:creationId xmlns:a16="http://schemas.microsoft.com/office/drawing/2014/main" id="{69F9E17B-566D-33E4-ABBD-4F24C55F3D87}"/>
                    </a:ext>
                  </a:extLst>
                </p:cNvPr>
                <p:cNvSpPr/>
                <p:nvPr/>
              </p:nvSpPr>
              <p:spPr>
                <a:xfrm rot="5400000">
                  <a:off x="3819499" y="5536583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1" name="Freihandform 480">
                  <a:extLst>
                    <a:ext uri="{FF2B5EF4-FFF2-40B4-BE49-F238E27FC236}">
                      <a16:creationId xmlns:a16="http://schemas.microsoft.com/office/drawing/2014/main" id="{6C7A9847-A535-708A-579F-B10ED1F6AF88}"/>
                    </a:ext>
                  </a:extLst>
                </p:cNvPr>
                <p:cNvSpPr/>
                <p:nvPr/>
              </p:nvSpPr>
              <p:spPr>
                <a:xfrm rot="5400000">
                  <a:off x="3819499" y="5586110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2" name="Freihandform 481">
                  <a:extLst>
                    <a:ext uri="{FF2B5EF4-FFF2-40B4-BE49-F238E27FC236}">
                      <a16:creationId xmlns:a16="http://schemas.microsoft.com/office/drawing/2014/main" id="{62A7BA77-1298-CA4F-58A4-CA24522EA53D}"/>
                    </a:ext>
                  </a:extLst>
                </p:cNvPr>
                <p:cNvSpPr/>
                <p:nvPr/>
              </p:nvSpPr>
              <p:spPr>
                <a:xfrm rot="5400000">
                  <a:off x="3819499" y="5635649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3" name="Freihandform 482">
                  <a:extLst>
                    <a:ext uri="{FF2B5EF4-FFF2-40B4-BE49-F238E27FC236}">
                      <a16:creationId xmlns:a16="http://schemas.microsoft.com/office/drawing/2014/main" id="{B4F1C575-0C39-CC9E-697F-3A6AD95DCCA9}"/>
                    </a:ext>
                  </a:extLst>
                </p:cNvPr>
                <p:cNvSpPr/>
                <p:nvPr/>
              </p:nvSpPr>
              <p:spPr>
                <a:xfrm rot="5400000">
                  <a:off x="3819499" y="5685176"/>
                  <a:ext cx="19574" cy="34661"/>
                </a:xfrm>
                <a:custGeom>
                  <a:avLst/>
                  <a:gdLst>
                    <a:gd name="connsiteX0" fmla="*/ 0 w 19574"/>
                    <a:gd name="connsiteY0" fmla="*/ 0 h 34661"/>
                    <a:gd name="connsiteX1" fmla="*/ 19575 w 19574"/>
                    <a:gd name="connsiteY1" fmla="*/ 0 h 34661"/>
                    <a:gd name="connsiteX2" fmla="*/ 19575 w 19574"/>
                    <a:gd name="connsiteY2" fmla="*/ 34661 h 34661"/>
                    <a:gd name="connsiteX3" fmla="*/ 0 w 19574"/>
                    <a:gd name="connsiteY3" fmla="*/ 34661 h 34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74" h="34661">
                      <a:moveTo>
                        <a:pt x="0" y="0"/>
                      </a:moveTo>
                      <a:lnTo>
                        <a:pt x="19575" y="0"/>
                      </a:lnTo>
                      <a:lnTo>
                        <a:pt x="19575" y="34661"/>
                      </a:lnTo>
                      <a:lnTo>
                        <a:pt x="0" y="34661"/>
                      </a:ln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484" name="Freihandform 483">
              <a:extLst>
                <a:ext uri="{FF2B5EF4-FFF2-40B4-BE49-F238E27FC236}">
                  <a16:creationId xmlns:a16="http://schemas.microsoft.com/office/drawing/2014/main" id="{521B4402-66EA-FAEC-05BC-5DAE1F640B7C}"/>
                </a:ext>
              </a:extLst>
            </p:cNvPr>
            <p:cNvSpPr/>
            <p:nvPr/>
          </p:nvSpPr>
          <p:spPr>
            <a:xfrm rot="-5400000">
              <a:off x="3443871" y="5369819"/>
              <a:ext cx="368090" cy="368201"/>
            </a:xfrm>
            <a:custGeom>
              <a:avLst/>
              <a:gdLst>
                <a:gd name="connsiteX0" fmla="*/ 360142 w 368090"/>
                <a:gd name="connsiteY0" fmla="*/ 0 h 368201"/>
                <a:gd name="connsiteX1" fmla="*/ 368090 w 368090"/>
                <a:gd name="connsiteY1" fmla="*/ 7951 h 368201"/>
                <a:gd name="connsiteX2" fmla="*/ 368090 w 368090"/>
                <a:gd name="connsiteY2" fmla="*/ 360251 h 368201"/>
                <a:gd name="connsiteX3" fmla="*/ 360142 w 368090"/>
                <a:gd name="connsiteY3" fmla="*/ 368202 h 368201"/>
                <a:gd name="connsiteX4" fmla="*/ 7949 w 368090"/>
                <a:gd name="connsiteY4" fmla="*/ 368202 h 368201"/>
                <a:gd name="connsiteX5" fmla="*/ 0 w 368090"/>
                <a:gd name="connsiteY5" fmla="*/ 360251 h 368201"/>
                <a:gd name="connsiteX6" fmla="*/ 0 w 368090"/>
                <a:gd name="connsiteY6" fmla="*/ 7951 h 368201"/>
                <a:gd name="connsiteX7" fmla="*/ 7949 w 368090"/>
                <a:gd name="connsiteY7" fmla="*/ 0 h 368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8090" h="368201">
                  <a:moveTo>
                    <a:pt x="360142" y="0"/>
                  </a:moveTo>
                  <a:cubicBezTo>
                    <a:pt x="364531" y="0"/>
                    <a:pt x="368090" y="3560"/>
                    <a:pt x="368090" y="7951"/>
                  </a:cubicBezTo>
                  <a:lnTo>
                    <a:pt x="368090" y="360251"/>
                  </a:lnTo>
                  <a:cubicBezTo>
                    <a:pt x="368090" y="364642"/>
                    <a:pt x="364531" y="368202"/>
                    <a:pt x="360142" y="368202"/>
                  </a:cubicBezTo>
                  <a:lnTo>
                    <a:pt x="7949" y="368202"/>
                  </a:lnTo>
                  <a:cubicBezTo>
                    <a:pt x="3559" y="368202"/>
                    <a:pt x="0" y="364642"/>
                    <a:pt x="0" y="360251"/>
                  </a:cubicBezTo>
                  <a:lnTo>
                    <a:pt x="0" y="7951"/>
                  </a:lnTo>
                  <a:cubicBezTo>
                    <a:pt x="0" y="3560"/>
                    <a:pt x="3559" y="0"/>
                    <a:pt x="7949" y="0"/>
                  </a:cubicBezTo>
                  <a:close/>
                </a:path>
              </a:pathLst>
            </a:custGeom>
            <a:solidFill>
              <a:srgbClr val="06534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85" name="Grafik 5">
            <a:extLst>
              <a:ext uri="{FF2B5EF4-FFF2-40B4-BE49-F238E27FC236}">
                <a16:creationId xmlns:a16="http://schemas.microsoft.com/office/drawing/2014/main" id="{3C8497F6-8A69-6B4D-746E-A354F6D27E68}"/>
              </a:ext>
            </a:extLst>
          </p:cNvPr>
          <p:cNvGrpSpPr/>
          <p:nvPr/>
        </p:nvGrpSpPr>
        <p:grpSpPr>
          <a:xfrm>
            <a:off x="9140778" y="1514849"/>
            <a:ext cx="500867" cy="391650"/>
            <a:chOff x="9140778" y="1514849"/>
            <a:chExt cx="500867" cy="391650"/>
          </a:xfrm>
        </p:grpSpPr>
        <p:sp>
          <p:nvSpPr>
            <p:cNvPr id="486" name="Freihandform 485">
              <a:extLst>
                <a:ext uri="{FF2B5EF4-FFF2-40B4-BE49-F238E27FC236}">
                  <a16:creationId xmlns:a16="http://schemas.microsoft.com/office/drawing/2014/main" id="{E18351B4-BAE8-6498-A932-CEA7EC04B60B}"/>
                </a:ext>
              </a:extLst>
            </p:cNvPr>
            <p:cNvSpPr/>
            <p:nvPr/>
          </p:nvSpPr>
          <p:spPr>
            <a:xfrm>
              <a:off x="9159316" y="1878702"/>
              <a:ext cx="463803" cy="27797"/>
            </a:xfrm>
            <a:custGeom>
              <a:avLst/>
              <a:gdLst>
                <a:gd name="connsiteX0" fmla="*/ 418487 w 463803"/>
                <a:gd name="connsiteY0" fmla="*/ 0 h 27797"/>
                <a:gd name="connsiteX1" fmla="*/ 45304 w 463803"/>
                <a:gd name="connsiteY1" fmla="*/ 0 h 27797"/>
                <a:gd name="connsiteX2" fmla="*/ 19828 w 463803"/>
                <a:gd name="connsiteY2" fmla="*/ 6573 h 27797"/>
                <a:gd name="connsiteX3" fmla="*/ 3337 w 463803"/>
                <a:gd name="connsiteY3" fmla="*/ 15700 h 27797"/>
                <a:gd name="connsiteX4" fmla="*/ 6458 w 463803"/>
                <a:gd name="connsiteY4" fmla="*/ 27797 h 27797"/>
                <a:gd name="connsiteX5" fmla="*/ 457346 w 463803"/>
                <a:gd name="connsiteY5" fmla="*/ 27797 h 27797"/>
                <a:gd name="connsiteX6" fmla="*/ 460467 w 463803"/>
                <a:gd name="connsiteY6" fmla="*/ 15700 h 27797"/>
                <a:gd name="connsiteX7" fmla="*/ 443976 w 463803"/>
                <a:gd name="connsiteY7" fmla="*/ 6573 h 27797"/>
                <a:gd name="connsiteX8" fmla="*/ 418500 w 463803"/>
                <a:gd name="connsiteY8" fmla="*/ 0 h 2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3803" h="27797">
                  <a:moveTo>
                    <a:pt x="418487" y="0"/>
                  </a:moveTo>
                  <a:lnTo>
                    <a:pt x="45304" y="0"/>
                  </a:lnTo>
                  <a:cubicBezTo>
                    <a:pt x="36395" y="0"/>
                    <a:pt x="27625" y="2263"/>
                    <a:pt x="19828" y="6573"/>
                  </a:cubicBezTo>
                  <a:lnTo>
                    <a:pt x="3337" y="15700"/>
                  </a:lnTo>
                  <a:cubicBezTo>
                    <a:pt x="-2489" y="18923"/>
                    <a:pt x="-202" y="27797"/>
                    <a:pt x="6458" y="27797"/>
                  </a:cubicBezTo>
                  <a:lnTo>
                    <a:pt x="457346" y="27797"/>
                  </a:lnTo>
                  <a:cubicBezTo>
                    <a:pt x="464005" y="27797"/>
                    <a:pt x="466293" y="18923"/>
                    <a:pt x="460467" y="15700"/>
                  </a:cubicBezTo>
                  <a:lnTo>
                    <a:pt x="443976" y="6573"/>
                  </a:lnTo>
                  <a:cubicBezTo>
                    <a:pt x="436179" y="2263"/>
                    <a:pt x="427408" y="0"/>
                    <a:pt x="418500" y="0"/>
                  </a:cubicBezTo>
                  <a:close/>
                </a:path>
              </a:pathLst>
            </a:custGeom>
            <a:solidFill>
              <a:srgbClr val="9BBA4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87" name="Grafik 5">
              <a:extLst>
                <a:ext uri="{FF2B5EF4-FFF2-40B4-BE49-F238E27FC236}">
                  <a16:creationId xmlns:a16="http://schemas.microsoft.com/office/drawing/2014/main" id="{563BA848-C8D0-D32B-07E7-0D3EA5B0E179}"/>
                </a:ext>
              </a:extLst>
            </p:cNvPr>
            <p:cNvGrpSpPr/>
            <p:nvPr/>
          </p:nvGrpSpPr>
          <p:grpSpPr>
            <a:xfrm>
              <a:off x="9140778" y="1514849"/>
              <a:ext cx="500867" cy="380855"/>
              <a:chOff x="9140778" y="1514849"/>
              <a:chExt cx="500867" cy="380855"/>
            </a:xfrm>
          </p:grpSpPr>
          <p:grpSp>
            <p:nvGrpSpPr>
              <p:cNvPr id="488" name="Grafik 5">
                <a:extLst>
                  <a:ext uri="{FF2B5EF4-FFF2-40B4-BE49-F238E27FC236}">
                    <a16:creationId xmlns:a16="http://schemas.microsoft.com/office/drawing/2014/main" id="{BB4916BB-0E0E-DE67-58A1-51E5C6BFB01A}"/>
                  </a:ext>
                </a:extLst>
              </p:cNvPr>
              <p:cNvGrpSpPr/>
              <p:nvPr/>
            </p:nvGrpSpPr>
            <p:grpSpPr>
              <a:xfrm>
                <a:off x="9140778" y="1514849"/>
                <a:ext cx="500867" cy="380855"/>
                <a:chOff x="9140778" y="1514849"/>
                <a:chExt cx="500867" cy="380855"/>
              </a:xfrm>
            </p:grpSpPr>
            <p:sp>
              <p:nvSpPr>
                <p:cNvPr id="489" name="Freihandform 488">
                  <a:extLst>
                    <a:ext uri="{FF2B5EF4-FFF2-40B4-BE49-F238E27FC236}">
                      <a16:creationId xmlns:a16="http://schemas.microsoft.com/office/drawing/2014/main" id="{7FBA3559-6C75-9061-9AC2-90F82923F59D}"/>
                    </a:ext>
                  </a:extLst>
                </p:cNvPr>
                <p:cNvSpPr/>
                <p:nvPr/>
              </p:nvSpPr>
              <p:spPr>
                <a:xfrm>
                  <a:off x="9356201" y="1792897"/>
                  <a:ext cx="70021" cy="99622"/>
                </a:xfrm>
                <a:custGeom>
                  <a:avLst/>
                  <a:gdLst>
                    <a:gd name="connsiteX0" fmla="*/ 0 w 70021"/>
                    <a:gd name="connsiteY0" fmla="*/ 0 h 99622"/>
                    <a:gd name="connsiteX1" fmla="*/ 70022 w 70021"/>
                    <a:gd name="connsiteY1" fmla="*/ 0 h 99622"/>
                    <a:gd name="connsiteX2" fmla="*/ 70022 w 70021"/>
                    <a:gd name="connsiteY2" fmla="*/ 99622 h 99622"/>
                    <a:gd name="connsiteX3" fmla="*/ 0 w 70021"/>
                    <a:gd name="connsiteY3" fmla="*/ 99622 h 996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21" h="99622">
                      <a:moveTo>
                        <a:pt x="0" y="0"/>
                      </a:moveTo>
                      <a:lnTo>
                        <a:pt x="70022" y="0"/>
                      </a:lnTo>
                      <a:lnTo>
                        <a:pt x="70022" y="99622"/>
                      </a:lnTo>
                      <a:lnTo>
                        <a:pt x="0" y="99622"/>
                      </a:ln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0" name="Freihandform 489">
                  <a:extLst>
                    <a:ext uri="{FF2B5EF4-FFF2-40B4-BE49-F238E27FC236}">
                      <a16:creationId xmlns:a16="http://schemas.microsoft.com/office/drawing/2014/main" id="{B3ACDD42-8066-F0C1-F1FD-98278872B819}"/>
                    </a:ext>
                  </a:extLst>
                </p:cNvPr>
                <p:cNvSpPr/>
                <p:nvPr/>
              </p:nvSpPr>
              <p:spPr>
                <a:xfrm>
                  <a:off x="9317797" y="1884896"/>
                  <a:ext cx="146854" cy="10807"/>
                </a:xfrm>
                <a:custGeom>
                  <a:avLst/>
                  <a:gdLst>
                    <a:gd name="connsiteX0" fmla="*/ 4676 w 146854"/>
                    <a:gd name="connsiteY0" fmla="*/ 0 h 10807"/>
                    <a:gd name="connsiteX1" fmla="*/ 142166 w 146854"/>
                    <a:gd name="connsiteY1" fmla="*/ 0 h 10807"/>
                    <a:gd name="connsiteX2" fmla="*/ 146855 w 146854"/>
                    <a:gd name="connsiteY2" fmla="*/ 4690 h 10807"/>
                    <a:gd name="connsiteX3" fmla="*/ 146855 w 146854"/>
                    <a:gd name="connsiteY3" fmla="*/ 10808 h 10807"/>
                    <a:gd name="connsiteX4" fmla="*/ 0 w 146854"/>
                    <a:gd name="connsiteY4" fmla="*/ 10808 h 10807"/>
                    <a:gd name="connsiteX5" fmla="*/ 0 w 146854"/>
                    <a:gd name="connsiteY5" fmla="*/ 4690 h 10807"/>
                    <a:gd name="connsiteX6" fmla="*/ 4689 w 146854"/>
                    <a:gd name="connsiteY6" fmla="*/ 0 h 108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6854" h="10807">
                      <a:moveTo>
                        <a:pt x="4676" y="0"/>
                      </a:moveTo>
                      <a:lnTo>
                        <a:pt x="142166" y="0"/>
                      </a:lnTo>
                      <a:cubicBezTo>
                        <a:pt x="144757" y="0"/>
                        <a:pt x="146855" y="2098"/>
                        <a:pt x="146855" y="4690"/>
                      </a:cubicBezTo>
                      <a:lnTo>
                        <a:pt x="146855" y="10808"/>
                      </a:lnTo>
                      <a:lnTo>
                        <a:pt x="0" y="10808"/>
                      </a:lnTo>
                      <a:lnTo>
                        <a:pt x="0" y="4690"/>
                      </a:lnTo>
                      <a:cubicBezTo>
                        <a:pt x="0" y="2098"/>
                        <a:pt x="2098" y="0"/>
                        <a:pt x="4689" y="0"/>
                      </a:cubicBezTo>
                      <a:close/>
                    </a:path>
                  </a:pathLst>
                </a:custGeom>
                <a:solidFill>
                  <a:srgbClr val="3B9B9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1" name="Freihandform 490">
                  <a:extLst>
                    <a:ext uri="{FF2B5EF4-FFF2-40B4-BE49-F238E27FC236}">
                      <a16:creationId xmlns:a16="http://schemas.microsoft.com/office/drawing/2014/main" id="{46BBF875-ED32-6FD7-AB8B-93F815981AEC}"/>
                    </a:ext>
                  </a:extLst>
                </p:cNvPr>
                <p:cNvSpPr/>
                <p:nvPr/>
              </p:nvSpPr>
              <p:spPr>
                <a:xfrm>
                  <a:off x="9140778" y="1514849"/>
                  <a:ext cx="500867" cy="285884"/>
                </a:xfrm>
                <a:custGeom>
                  <a:avLst/>
                  <a:gdLst>
                    <a:gd name="connsiteX0" fmla="*/ 494006 w 500867"/>
                    <a:gd name="connsiteY0" fmla="*/ 0 h 285884"/>
                    <a:gd name="connsiteX1" fmla="*/ 500868 w 500867"/>
                    <a:gd name="connsiteY1" fmla="*/ 6864 h 285884"/>
                    <a:gd name="connsiteX2" fmla="*/ 500868 w 500867"/>
                    <a:gd name="connsiteY2" fmla="*/ 279021 h 285884"/>
                    <a:gd name="connsiteX3" fmla="*/ 494006 w 500867"/>
                    <a:gd name="connsiteY3" fmla="*/ 285885 h 285884"/>
                    <a:gd name="connsiteX4" fmla="*/ 6862 w 500867"/>
                    <a:gd name="connsiteY4" fmla="*/ 285885 h 285884"/>
                    <a:gd name="connsiteX5" fmla="*/ 0 w 500867"/>
                    <a:gd name="connsiteY5" fmla="*/ 279021 h 285884"/>
                    <a:gd name="connsiteX6" fmla="*/ 0 w 500867"/>
                    <a:gd name="connsiteY6" fmla="*/ 6864 h 285884"/>
                    <a:gd name="connsiteX7" fmla="*/ 6862 w 500867"/>
                    <a:gd name="connsiteY7" fmla="*/ 0 h 285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0867" h="285884">
                      <a:moveTo>
                        <a:pt x="494006" y="0"/>
                      </a:moveTo>
                      <a:cubicBezTo>
                        <a:pt x="497795" y="0"/>
                        <a:pt x="500868" y="3073"/>
                        <a:pt x="500868" y="6864"/>
                      </a:cubicBezTo>
                      <a:lnTo>
                        <a:pt x="500868" y="279021"/>
                      </a:lnTo>
                      <a:cubicBezTo>
                        <a:pt x="500868" y="282812"/>
                        <a:pt x="497796" y="285885"/>
                        <a:pt x="494006" y="285885"/>
                      </a:cubicBezTo>
                      <a:lnTo>
                        <a:pt x="6862" y="285885"/>
                      </a:lnTo>
                      <a:cubicBezTo>
                        <a:pt x="3073" y="285885"/>
                        <a:pt x="0" y="282812"/>
                        <a:pt x="0" y="279021"/>
                      </a:cubicBezTo>
                      <a:lnTo>
                        <a:pt x="0" y="6864"/>
                      </a:lnTo>
                      <a:cubicBezTo>
                        <a:pt x="0" y="3073"/>
                        <a:pt x="3072" y="0"/>
                        <a:pt x="6862" y="0"/>
                      </a:cubicBez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2" name="Freihandform 491">
                  <a:extLst>
                    <a:ext uri="{FF2B5EF4-FFF2-40B4-BE49-F238E27FC236}">
                      <a16:creationId xmlns:a16="http://schemas.microsoft.com/office/drawing/2014/main" id="{912D4AF3-55BD-2B7D-AF1C-DA9A32D3FE28}"/>
                    </a:ext>
                  </a:extLst>
                </p:cNvPr>
                <p:cNvSpPr/>
                <p:nvPr/>
              </p:nvSpPr>
              <p:spPr>
                <a:xfrm rot="5400000">
                  <a:off x="9267716" y="1411156"/>
                  <a:ext cx="246989" cy="477734"/>
                </a:xfrm>
                <a:custGeom>
                  <a:avLst/>
                  <a:gdLst>
                    <a:gd name="connsiteX0" fmla="*/ 0 w 246989"/>
                    <a:gd name="connsiteY0" fmla="*/ 0 h 477734"/>
                    <a:gd name="connsiteX1" fmla="*/ 246990 w 246989"/>
                    <a:gd name="connsiteY1" fmla="*/ 0 h 477734"/>
                    <a:gd name="connsiteX2" fmla="*/ 246990 w 246989"/>
                    <a:gd name="connsiteY2" fmla="*/ 477735 h 477734"/>
                    <a:gd name="connsiteX3" fmla="*/ 0 w 246989"/>
                    <a:gd name="connsiteY3" fmla="*/ 477735 h 477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6989" h="477734">
                      <a:moveTo>
                        <a:pt x="0" y="0"/>
                      </a:moveTo>
                      <a:lnTo>
                        <a:pt x="246990" y="0"/>
                      </a:lnTo>
                      <a:lnTo>
                        <a:pt x="246990" y="477735"/>
                      </a:lnTo>
                      <a:lnTo>
                        <a:pt x="0" y="477735"/>
                      </a:lnTo>
                      <a:close/>
                    </a:path>
                  </a:pathLst>
                </a:custGeom>
                <a:solidFill>
                  <a:srgbClr val="06534B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Freihandform 492">
                  <a:extLst>
                    <a:ext uri="{FF2B5EF4-FFF2-40B4-BE49-F238E27FC236}">
                      <a16:creationId xmlns:a16="http://schemas.microsoft.com/office/drawing/2014/main" id="{1F08ADC5-CF45-B3B2-E527-FE740EA8A4BD}"/>
                    </a:ext>
                  </a:extLst>
                </p:cNvPr>
                <p:cNvSpPr/>
                <p:nvPr/>
              </p:nvSpPr>
              <p:spPr>
                <a:xfrm>
                  <a:off x="9356201" y="1800734"/>
                  <a:ext cx="70021" cy="10390"/>
                </a:xfrm>
                <a:custGeom>
                  <a:avLst/>
                  <a:gdLst>
                    <a:gd name="connsiteX0" fmla="*/ 0 w 70021"/>
                    <a:gd name="connsiteY0" fmla="*/ 0 h 10390"/>
                    <a:gd name="connsiteX1" fmla="*/ 70022 w 70021"/>
                    <a:gd name="connsiteY1" fmla="*/ 0 h 10390"/>
                    <a:gd name="connsiteX2" fmla="*/ 70022 w 70021"/>
                    <a:gd name="connsiteY2" fmla="*/ 10391 h 10390"/>
                    <a:gd name="connsiteX3" fmla="*/ 0 w 70021"/>
                    <a:gd name="connsiteY3" fmla="*/ 10391 h 10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21" h="10390">
                      <a:moveTo>
                        <a:pt x="0" y="0"/>
                      </a:moveTo>
                      <a:lnTo>
                        <a:pt x="70022" y="0"/>
                      </a:lnTo>
                      <a:lnTo>
                        <a:pt x="70022" y="10391"/>
                      </a:lnTo>
                      <a:lnTo>
                        <a:pt x="0" y="10391"/>
                      </a:lnTo>
                      <a:close/>
                    </a:path>
                  </a:pathLst>
                </a:custGeom>
                <a:solidFill>
                  <a:srgbClr val="3B9B9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94" name="Freihandform 493">
                <a:extLst>
                  <a:ext uri="{FF2B5EF4-FFF2-40B4-BE49-F238E27FC236}">
                    <a16:creationId xmlns:a16="http://schemas.microsoft.com/office/drawing/2014/main" id="{BDF6029A-F41E-B955-43AA-FE0D0FA1A763}"/>
                  </a:ext>
                </a:extLst>
              </p:cNvPr>
              <p:cNvSpPr/>
              <p:nvPr/>
            </p:nvSpPr>
            <p:spPr>
              <a:xfrm>
                <a:off x="9152417" y="1526491"/>
                <a:ext cx="370087" cy="247064"/>
              </a:xfrm>
              <a:custGeom>
                <a:avLst/>
                <a:gdLst>
                  <a:gd name="connsiteX0" fmla="*/ 173165 w 370087"/>
                  <a:gd name="connsiteY0" fmla="*/ 247065 h 247064"/>
                  <a:gd name="connsiteX1" fmla="*/ 0 w 370087"/>
                  <a:gd name="connsiteY1" fmla="*/ 247065 h 247064"/>
                  <a:gd name="connsiteX2" fmla="*/ 0 w 370087"/>
                  <a:gd name="connsiteY2" fmla="*/ 0 h 247064"/>
                  <a:gd name="connsiteX3" fmla="*/ 370087 w 370087"/>
                  <a:gd name="connsiteY3" fmla="*/ 0 h 247064"/>
                  <a:gd name="connsiteX4" fmla="*/ 173165 w 370087"/>
                  <a:gd name="connsiteY4" fmla="*/ 247065 h 247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0087" h="247064">
                    <a:moveTo>
                      <a:pt x="173165" y="247065"/>
                    </a:moveTo>
                    <a:lnTo>
                      <a:pt x="0" y="247065"/>
                    </a:lnTo>
                    <a:lnTo>
                      <a:pt x="0" y="0"/>
                    </a:lnTo>
                    <a:lnTo>
                      <a:pt x="370087" y="0"/>
                    </a:lnTo>
                    <a:lnTo>
                      <a:pt x="173165" y="247065"/>
                    </a:ln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95" name="Grafik 5">
            <a:extLst>
              <a:ext uri="{FF2B5EF4-FFF2-40B4-BE49-F238E27FC236}">
                <a16:creationId xmlns:a16="http://schemas.microsoft.com/office/drawing/2014/main" id="{654606DB-01DA-72F2-DB38-8554434B69C9}"/>
              </a:ext>
            </a:extLst>
          </p:cNvPr>
          <p:cNvGrpSpPr/>
          <p:nvPr/>
        </p:nvGrpSpPr>
        <p:grpSpPr>
          <a:xfrm>
            <a:off x="8367849" y="1514849"/>
            <a:ext cx="500867" cy="391650"/>
            <a:chOff x="8367849" y="1514849"/>
            <a:chExt cx="500867" cy="391650"/>
          </a:xfrm>
        </p:grpSpPr>
        <p:sp>
          <p:nvSpPr>
            <p:cNvPr id="496" name="Freihandform 495">
              <a:extLst>
                <a:ext uri="{FF2B5EF4-FFF2-40B4-BE49-F238E27FC236}">
                  <a16:creationId xmlns:a16="http://schemas.microsoft.com/office/drawing/2014/main" id="{6C54C4B7-EA34-B25F-1A86-0645E094DEC5}"/>
                </a:ext>
              </a:extLst>
            </p:cNvPr>
            <p:cNvSpPr/>
            <p:nvPr/>
          </p:nvSpPr>
          <p:spPr>
            <a:xfrm>
              <a:off x="8386387" y="1878702"/>
              <a:ext cx="463803" cy="27797"/>
            </a:xfrm>
            <a:custGeom>
              <a:avLst/>
              <a:gdLst>
                <a:gd name="connsiteX0" fmla="*/ 418487 w 463803"/>
                <a:gd name="connsiteY0" fmla="*/ 0 h 27797"/>
                <a:gd name="connsiteX1" fmla="*/ 45304 w 463803"/>
                <a:gd name="connsiteY1" fmla="*/ 0 h 27797"/>
                <a:gd name="connsiteX2" fmla="*/ 19828 w 463803"/>
                <a:gd name="connsiteY2" fmla="*/ 6573 h 27797"/>
                <a:gd name="connsiteX3" fmla="*/ 3337 w 463803"/>
                <a:gd name="connsiteY3" fmla="*/ 15700 h 27797"/>
                <a:gd name="connsiteX4" fmla="*/ 6458 w 463803"/>
                <a:gd name="connsiteY4" fmla="*/ 27797 h 27797"/>
                <a:gd name="connsiteX5" fmla="*/ 457346 w 463803"/>
                <a:gd name="connsiteY5" fmla="*/ 27797 h 27797"/>
                <a:gd name="connsiteX6" fmla="*/ 460467 w 463803"/>
                <a:gd name="connsiteY6" fmla="*/ 15700 h 27797"/>
                <a:gd name="connsiteX7" fmla="*/ 443976 w 463803"/>
                <a:gd name="connsiteY7" fmla="*/ 6573 h 27797"/>
                <a:gd name="connsiteX8" fmla="*/ 418500 w 463803"/>
                <a:gd name="connsiteY8" fmla="*/ 0 h 2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3803" h="27797">
                  <a:moveTo>
                    <a:pt x="418487" y="0"/>
                  </a:moveTo>
                  <a:lnTo>
                    <a:pt x="45304" y="0"/>
                  </a:lnTo>
                  <a:cubicBezTo>
                    <a:pt x="36395" y="0"/>
                    <a:pt x="27625" y="2263"/>
                    <a:pt x="19828" y="6573"/>
                  </a:cubicBezTo>
                  <a:lnTo>
                    <a:pt x="3337" y="15700"/>
                  </a:lnTo>
                  <a:cubicBezTo>
                    <a:pt x="-2489" y="18923"/>
                    <a:pt x="-202" y="27797"/>
                    <a:pt x="6458" y="27797"/>
                  </a:cubicBezTo>
                  <a:lnTo>
                    <a:pt x="457346" y="27797"/>
                  </a:lnTo>
                  <a:cubicBezTo>
                    <a:pt x="464005" y="27797"/>
                    <a:pt x="466293" y="18923"/>
                    <a:pt x="460467" y="15700"/>
                  </a:cubicBezTo>
                  <a:lnTo>
                    <a:pt x="443976" y="6573"/>
                  </a:lnTo>
                  <a:cubicBezTo>
                    <a:pt x="436179" y="2263"/>
                    <a:pt x="427408" y="0"/>
                    <a:pt x="418500" y="0"/>
                  </a:cubicBezTo>
                  <a:close/>
                </a:path>
              </a:pathLst>
            </a:custGeom>
            <a:solidFill>
              <a:srgbClr val="9BBA4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97" name="Grafik 5">
              <a:extLst>
                <a:ext uri="{FF2B5EF4-FFF2-40B4-BE49-F238E27FC236}">
                  <a16:creationId xmlns:a16="http://schemas.microsoft.com/office/drawing/2014/main" id="{91A9A413-7CC4-443B-03B6-F870407D43CC}"/>
                </a:ext>
              </a:extLst>
            </p:cNvPr>
            <p:cNvGrpSpPr/>
            <p:nvPr/>
          </p:nvGrpSpPr>
          <p:grpSpPr>
            <a:xfrm>
              <a:off x="8367849" y="1514849"/>
              <a:ext cx="500867" cy="380855"/>
              <a:chOff x="8367849" y="1514849"/>
              <a:chExt cx="500867" cy="380855"/>
            </a:xfrm>
          </p:grpSpPr>
          <p:sp>
            <p:nvSpPr>
              <p:cNvPr id="498" name="Freihandform 497">
                <a:extLst>
                  <a:ext uri="{FF2B5EF4-FFF2-40B4-BE49-F238E27FC236}">
                    <a16:creationId xmlns:a16="http://schemas.microsoft.com/office/drawing/2014/main" id="{990B57F7-6A37-00C5-D889-04F1CDCDA834}"/>
                  </a:ext>
                </a:extLst>
              </p:cNvPr>
              <p:cNvSpPr/>
              <p:nvPr/>
            </p:nvSpPr>
            <p:spPr>
              <a:xfrm>
                <a:off x="8583272" y="1792897"/>
                <a:ext cx="70021" cy="99622"/>
              </a:xfrm>
              <a:custGeom>
                <a:avLst/>
                <a:gdLst>
                  <a:gd name="connsiteX0" fmla="*/ 0 w 70021"/>
                  <a:gd name="connsiteY0" fmla="*/ 0 h 99622"/>
                  <a:gd name="connsiteX1" fmla="*/ 70021 w 70021"/>
                  <a:gd name="connsiteY1" fmla="*/ 0 h 99622"/>
                  <a:gd name="connsiteX2" fmla="*/ 70021 w 70021"/>
                  <a:gd name="connsiteY2" fmla="*/ 99622 h 99622"/>
                  <a:gd name="connsiteX3" fmla="*/ 0 w 70021"/>
                  <a:gd name="connsiteY3" fmla="*/ 99622 h 99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021" h="99622">
                    <a:moveTo>
                      <a:pt x="0" y="0"/>
                    </a:moveTo>
                    <a:lnTo>
                      <a:pt x="70021" y="0"/>
                    </a:lnTo>
                    <a:lnTo>
                      <a:pt x="70021" y="99622"/>
                    </a:lnTo>
                    <a:lnTo>
                      <a:pt x="0" y="99622"/>
                    </a:lnTo>
                    <a:close/>
                  </a:path>
                </a:pathLst>
              </a:custGeom>
              <a:solidFill>
                <a:srgbClr val="6CB4AD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9" name="Freihandform 498">
                <a:extLst>
                  <a:ext uri="{FF2B5EF4-FFF2-40B4-BE49-F238E27FC236}">
                    <a16:creationId xmlns:a16="http://schemas.microsoft.com/office/drawing/2014/main" id="{B5539E9A-DAB9-A303-2B61-D0A4A8A4D928}"/>
                  </a:ext>
                </a:extLst>
              </p:cNvPr>
              <p:cNvSpPr/>
              <p:nvPr/>
            </p:nvSpPr>
            <p:spPr>
              <a:xfrm>
                <a:off x="8544868" y="1884896"/>
                <a:ext cx="146854" cy="10807"/>
              </a:xfrm>
              <a:custGeom>
                <a:avLst/>
                <a:gdLst>
                  <a:gd name="connsiteX0" fmla="*/ 4676 w 146854"/>
                  <a:gd name="connsiteY0" fmla="*/ 0 h 10807"/>
                  <a:gd name="connsiteX1" fmla="*/ 142166 w 146854"/>
                  <a:gd name="connsiteY1" fmla="*/ 0 h 10807"/>
                  <a:gd name="connsiteX2" fmla="*/ 146855 w 146854"/>
                  <a:gd name="connsiteY2" fmla="*/ 4690 h 10807"/>
                  <a:gd name="connsiteX3" fmla="*/ 146855 w 146854"/>
                  <a:gd name="connsiteY3" fmla="*/ 10808 h 10807"/>
                  <a:gd name="connsiteX4" fmla="*/ 0 w 146854"/>
                  <a:gd name="connsiteY4" fmla="*/ 10808 h 10807"/>
                  <a:gd name="connsiteX5" fmla="*/ 0 w 146854"/>
                  <a:gd name="connsiteY5" fmla="*/ 4690 h 10807"/>
                  <a:gd name="connsiteX6" fmla="*/ 4689 w 146854"/>
                  <a:gd name="connsiteY6" fmla="*/ 0 h 10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6854" h="10807">
                    <a:moveTo>
                      <a:pt x="4676" y="0"/>
                    </a:moveTo>
                    <a:lnTo>
                      <a:pt x="142166" y="0"/>
                    </a:lnTo>
                    <a:cubicBezTo>
                      <a:pt x="144757" y="0"/>
                      <a:pt x="146855" y="2098"/>
                      <a:pt x="146855" y="4690"/>
                    </a:cubicBezTo>
                    <a:lnTo>
                      <a:pt x="146855" y="10808"/>
                    </a:lnTo>
                    <a:lnTo>
                      <a:pt x="0" y="10808"/>
                    </a:lnTo>
                    <a:lnTo>
                      <a:pt x="0" y="4690"/>
                    </a:lnTo>
                    <a:cubicBezTo>
                      <a:pt x="0" y="2098"/>
                      <a:pt x="2098" y="0"/>
                      <a:pt x="4689" y="0"/>
                    </a:cubicBezTo>
                    <a:close/>
                  </a:path>
                </a:pathLst>
              </a:custGeom>
              <a:solidFill>
                <a:srgbClr val="3B9B9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0" name="Freihandform 499">
                <a:extLst>
                  <a:ext uri="{FF2B5EF4-FFF2-40B4-BE49-F238E27FC236}">
                    <a16:creationId xmlns:a16="http://schemas.microsoft.com/office/drawing/2014/main" id="{EF28507C-D776-64E4-3D8D-FF995D17ABDE}"/>
                  </a:ext>
                </a:extLst>
              </p:cNvPr>
              <p:cNvSpPr/>
              <p:nvPr/>
            </p:nvSpPr>
            <p:spPr>
              <a:xfrm>
                <a:off x="8367849" y="1514849"/>
                <a:ext cx="500867" cy="285884"/>
              </a:xfrm>
              <a:custGeom>
                <a:avLst/>
                <a:gdLst>
                  <a:gd name="connsiteX0" fmla="*/ 494006 w 500867"/>
                  <a:gd name="connsiteY0" fmla="*/ 0 h 285884"/>
                  <a:gd name="connsiteX1" fmla="*/ 500868 w 500867"/>
                  <a:gd name="connsiteY1" fmla="*/ 6864 h 285884"/>
                  <a:gd name="connsiteX2" fmla="*/ 500868 w 500867"/>
                  <a:gd name="connsiteY2" fmla="*/ 279021 h 285884"/>
                  <a:gd name="connsiteX3" fmla="*/ 494006 w 500867"/>
                  <a:gd name="connsiteY3" fmla="*/ 285885 h 285884"/>
                  <a:gd name="connsiteX4" fmla="*/ 6862 w 500867"/>
                  <a:gd name="connsiteY4" fmla="*/ 285885 h 285884"/>
                  <a:gd name="connsiteX5" fmla="*/ 0 w 500867"/>
                  <a:gd name="connsiteY5" fmla="*/ 279021 h 285884"/>
                  <a:gd name="connsiteX6" fmla="*/ 0 w 500867"/>
                  <a:gd name="connsiteY6" fmla="*/ 6864 h 285884"/>
                  <a:gd name="connsiteX7" fmla="*/ 6862 w 500867"/>
                  <a:gd name="connsiteY7" fmla="*/ 0 h 285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0867" h="285884">
                    <a:moveTo>
                      <a:pt x="494006" y="0"/>
                    </a:moveTo>
                    <a:cubicBezTo>
                      <a:pt x="497795" y="0"/>
                      <a:pt x="500868" y="3073"/>
                      <a:pt x="500868" y="6864"/>
                    </a:cubicBezTo>
                    <a:lnTo>
                      <a:pt x="500868" y="279021"/>
                    </a:lnTo>
                    <a:cubicBezTo>
                      <a:pt x="500868" y="282812"/>
                      <a:pt x="497796" y="285885"/>
                      <a:pt x="494006" y="285885"/>
                    </a:cubicBezTo>
                    <a:lnTo>
                      <a:pt x="6862" y="285885"/>
                    </a:lnTo>
                    <a:cubicBezTo>
                      <a:pt x="3073" y="285885"/>
                      <a:pt x="0" y="282812"/>
                      <a:pt x="0" y="279021"/>
                    </a:cubicBezTo>
                    <a:lnTo>
                      <a:pt x="0" y="6864"/>
                    </a:lnTo>
                    <a:cubicBezTo>
                      <a:pt x="0" y="3073"/>
                      <a:pt x="3072" y="0"/>
                      <a:pt x="6862" y="0"/>
                    </a:cubicBezTo>
                    <a:close/>
                  </a:path>
                </a:pathLst>
              </a:custGeom>
              <a:solidFill>
                <a:srgbClr val="6CB4AD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1" name="Freihandform 500">
                <a:extLst>
                  <a:ext uri="{FF2B5EF4-FFF2-40B4-BE49-F238E27FC236}">
                    <a16:creationId xmlns:a16="http://schemas.microsoft.com/office/drawing/2014/main" id="{2FBC5951-4692-D230-9ED6-5885A0DCEBC1}"/>
                  </a:ext>
                </a:extLst>
              </p:cNvPr>
              <p:cNvSpPr/>
              <p:nvPr/>
            </p:nvSpPr>
            <p:spPr>
              <a:xfrm rot="5400000">
                <a:off x="8494788" y="1411156"/>
                <a:ext cx="246989" cy="477734"/>
              </a:xfrm>
              <a:custGeom>
                <a:avLst/>
                <a:gdLst>
                  <a:gd name="connsiteX0" fmla="*/ 0 w 246989"/>
                  <a:gd name="connsiteY0" fmla="*/ 0 h 477734"/>
                  <a:gd name="connsiteX1" fmla="*/ 246990 w 246989"/>
                  <a:gd name="connsiteY1" fmla="*/ 0 h 477734"/>
                  <a:gd name="connsiteX2" fmla="*/ 246990 w 246989"/>
                  <a:gd name="connsiteY2" fmla="*/ 477735 h 477734"/>
                  <a:gd name="connsiteX3" fmla="*/ 0 w 246989"/>
                  <a:gd name="connsiteY3" fmla="*/ 477735 h 477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6989" h="477734">
                    <a:moveTo>
                      <a:pt x="0" y="0"/>
                    </a:moveTo>
                    <a:lnTo>
                      <a:pt x="246990" y="0"/>
                    </a:lnTo>
                    <a:lnTo>
                      <a:pt x="246990" y="477735"/>
                    </a:lnTo>
                    <a:lnTo>
                      <a:pt x="0" y="477735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2" name="Freihandform 501">
                <a:extLst>
                  <a:ext uri="{FF2B5EF4-FFF2-40B4-BE49-F238E27FC236}">
                    <a16:creationId xmlns:a16="http://schemas.microsoft.com/office/drawing/2014/main" id="{E4E5BB1A-8AD7-658B-58E0-D824F1014275}"/>
                  </a:ext>
                </a:extLst>
              </p:cNvPr>
              <p:cNvSpPr/>
              <p:nvPr/>
            </p:nvSpPr>
            <p:spPr>
              <a:xfrm>
                <a:off x="8583272" y="1800734"/>
                <a:ext cx="70021" cy="10390"/>
              </a:xfrm>
              <a:custGeom>
                <a:avLst/>
                <a:gdLst>
                  <a:gd name="connsiteX0" fmla="*/ 0 w 70021"/>
                  <a:gd name="connsiteY0" fmla="*/ 0 h 10390"/>
                  <a:gd name="connsiteX1" fmla="*/ 70021 w 70021"/>
                  <a:gd name="connsiteY1" fmla="*/ 0 h 10390"/>
                  <a:gd name="connsiteX2" fmla="*/ 70021 w 70021"/>
                  <a:gd name="connsiteY2" fmla="*/ 10391 h 10390"/>
                  <a:gd name="connsiteX3" fmla="*/ 0 w 70021"/>
                  <a:gd name="connsiteY3" fmla="*/ 10391 h 10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021" h="10390">
                    <a:moveTo>
                      <a:pt x="0" y="0"/>
                    </a:moveTo>
                    <a:lnTo>
                      <a:pt x="70021" y="0"/>
                    </a:lnTo>
                    <a:lnTo>
                      <a:pt x="70021" y="10391"/>
                    </a:lnTo>
                    <a:lnTo>
                      <a:pt x="0" y="10391"/>
                    </a:lnTo>
                    <a:close/>
                  </a:path>
                </a:pathLst>
              </a:custGeom>
              <a:solidFill>
                <a:srgbClr val="3B9B9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3" name="Freihandform 502">
                <a:extLst>
                  <a:ext uri="{FF2B5EF4-FFF2-40B4-BE49-F238E27FC236}">
                    <a16:creationId xmlns:a16="http://schemas.microsoft.com/office/drawing/2014/main" id="{6B715552-CC3B-65DC-3015-B724219A701D}"/>
                  </a:ext>
                </a:extLst>
              </p:cNvPr>
              <p:cNvSpPr/>
              <p:nvPr/>
            </p:nvSpPr>
            <p:spPr>
              <a:xfrm>
                <a:off x="8379488" y="1526491"/>
                <a:ext cx="370087" cy="247064"/>
              </a:xfrm>
              <a:custGeom>
                <a:avLst/>
                <a:gdLst>
                  <a:gd name="connsiteX0" fmla="*/ 173165 w 370087"/>
                  <a:gd name="connsiteY0" fmla="*/ 247065 h 247064"/>
                  <a:gd name="connsiteX1" fmla="*/ 0 w 370087"/>
                  <a:gd name="connsiteY1" fmla="*/ 247065 h 247064"/>
                  <a:gd name="connsiteX2" fmla="*/ 0 w 370087"/>
                  <a:gd name="connsiteY2" fmla="*/ 0 h 247064"/>
                  <a:gd name="connsiteX3" fmla="*/ 370087 w 370087"/>
                  <a:gd name="connsiteY3" fmla="*/ 0 h 247064"/>
                  <a:gd name="connsiteX4" fmla="*/ 173165 w 370087"/>
                  <a:gd name="connsiteY4" fmla="*/ 247065 h 247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0087" h="247064">
                    <a:moveTo>
                      <a:pt x="173165" y="247065"/>
                    </a:moveTo>
                    <a:lnTo>
                      <a:pt x="0" y="247065"/>
                    </a:lnTo>
                    <a:lnTo>
                      <a:pt x="0" y="0"/>
                    </a:lnTo>
                    <a:lnTo>
                      <a:pt x="370087" y="0"/>
                    </a:lnTo>
                    <a:lnTo>
                      <a:pt x="173165" y="247065"/>
                    </a:ln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04" name="Grafik 5">
            <a:extLst>
              <a:ext uri="{FF2B5EF4-FFF2-40B4-BE49-F238E27FC236}">
                <a16:creationId xmlns:a16="http://schemas.microsoft.com/office/drawing/2014/main" id="{2F6E070F-34E9-F80D-F8C3-E9CC7E7138E8}"/>
              </a:ext>
            </a:extLst>
          </p:cNvPr>
          <p:cNvGrpSpPr/>
          <p:nvPr/>
        </p:nvGrpSpPr>
        <p:grpSpPr>
          <a:xfrm>
            <a:off x="9212841" y="1944814"/>
            <a:ext cx="356737" cy="197866"/>
            <a:chOff x="9212841" y="1944814"/>
            <a:chExt cx="356737" cy="197866"/>
          </a:xfrm>
        </p:grpSpPr>
        <p:sp>
          <p:nvSpPr>
            <p:cNvPr id="505" name="Freihandform 504">
              <a:extLst>
                <a:ext uri="{FF2B5EF4-FFF2-40B4-BE49-F238E27FC236}">
                  <a16:creationId xmlns:a16="http://schemas.microsoft.com/office/drawing/2014/main" id="{54162E8E-1840-1C66-301E-C8B38137F582}"/>
                </a:ext>
              </a:extLst>
            </p:cNvPr>
            <p:cNvSpPr/>
            <p:nvPr/>
          </p:nvSpPr>
          <p:spPr>
            <a:xfrm>
              <a:off x="9212841" y="2114884"/>
              <a:ext cx="356737" cy="27797"/>
            </a:xfrm>
            <a:custGeom>
              <a:avLst/>
              <a:gdLst>
                <a:gd name="connsiteX0" fmla="*/ 321882 w 356737"/>
                <a:gd name="connsiteY0" fmla="*/ 0 h 27797"/>
                <a:gd name="connsiteX1" fmla="*/ 34858 w 356737"/>
                <a:gd name="connsiteY1" fmla="*/ 0 h 27797"/>
                <a:gd name="connsiteX2" fmla="*/ 15259 w 356737"/>
                <a:gd name="connsiteY2" fmla="*/ 6573 h 27797"/>
                <a:gd name="connsiteX3" fmla="*/ 2571 w 356737"/>
                <a:gd name="connsiteY3" fmla="*/ 15700 h 27797"/>
                <a:gd name="connsiteX4" fmla="*/ 4972 w 356737"/>
                <a:gd name="connsiteY4" fmla="*/ 27797 h 27797"/>
                <a:gd name="connsiteX5" fmla="*/ 351769 w 356737"/>
                <a:gd name="connsiteY5" fmla="*/ 27797 h 27797"/>
                <a:gd name="connsiteX6" fmla="*/ 354170 w 356737"/>
                <a:gd name="connsiteY6" fmla="*/ 15700 h 27797"/>
                <a:gd name="connsiteX7" fmla="*/ 341483 w 356737"/>
                <a:gd name="connsiteY7" fmla="*/ 6573 h 27797"/>
                <a:gd name="connsiteX8" fmla="*/ 321882 w 356737"/>
                <a:gd name="connsiteY8" fmla="*/ 0 h 2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6737" h="27797">
                  <a:moveTo>
                    <a:pt x="321882" y="0"/>
                  </a:moveTo>
                  <a:lnTo>
                    <a:pt x="34858" y="0"/>
                  </a:lnTo>
                  <a:cubicBezTo>
                    <a:pt x="28009" y="0"/>
                    <a:pt x="21261" y="2263"/>
                    <a:pt x="15259" y="6573"/>
                  </a:cubicBezTo>
                  <a:lnTo>
                    <a:pt x="2571" y="15700"/>
                  </a:lnTo>
                  <a:cubicBezTo>
                    <a:pt x="-1915" y="18923"/>
                    <a:pt x="-159" y="27797"/>
                    <a:pt x="4972" y="27797"/>
                  </a:cubicBezTo>
                  <a:lnTo>
                    <a:pt x="351769" y="27797"/>
                  </a:lnTo>
                  <a:cubicBezTo>
                    <a:pt x="356887" y="27797"/>
                    <a:pt x="358656" y="18923"/>
                    <a:pt x="354170" y="15700"/>
                  </a:cubicBezTo>
                  <a:lnTo>
                    <a:pt x="341483" y="6573"/>
                  </a:lnTo>
                  <a:cubicBezTo>
                    <a:pt x="335480" y="2263"/>
                    <a:pt x="328745" y="0"/>
                    <a:pt x="321882" y="0"/>
                  </a:cubicBezTo>
                  <a:close/>
                </a:path>
              </a:pathLst>
            </a:custGeom>
            <a:solidFill>
              <a:srgbClr val="9BBA4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06" name="Grafik 5">
              <a:extLst>
                <a:ext uri="{FF2B5EF4-FFF2-40B4-BE49-F238E27FC236}">
                  <a16:creationId xmlns:a16="http://schemas.microsoft.com/office/drawing/2014/main" id="{8167A065-1AA0-D05B-5ABE-9458D1ACE0AE}"/>
                </a:ext>
              </a:extLst>
            </p:cNvPr>
            <p:cNvGrpSpPr/>
            <p:nvPr/>
          </p:nvGrpSpPr>
          <p:grpSpPr>
            <a:xfrm>
              <a:off x="9253917" y="1944814"/>
              <a:ext cx="274589" cy="183974"/>
              <a:chOff x="9253917" y="1944814"/>
              <a:chExt cx="274589" cy="183974"/>
            </a:xfrm>
          </p:grpSpPr>
          <p:sp>
            <p:nvSpPr>
              <p:cNvPr id="507" name="Freihandform 506">
                <a:extLst>
                  <a:ext uri="{FF2B5EF4-FFF2-40B4-BE49-F238E27FC236}">
                    <a16:creationId xmlns:a16="http://schemas.microsoft.com/office/drawing/2014/main" id="{280F1618-665A-E229-3D59-EE82D098F35E}"/>
                  </a:ext>
                </a:extLst>
              </p:cNvPr>
              <p:cNvSpPr/>
              <p:nvPr/>
            </p:nvSpPr>
            <p:spPr>
              <a:xfrm>
                <a:off x="9253917" y="2068100"/>
                <a:ext cx="274589" cy="60688"/>
              </a:xfrm>
              <a:custGeom>
                <a:avLst/>
                <a:gdLst>
                  <a:gd name="connsiteX0" fmla="*/ 266135 w 274589"/>
                  <a:gd name="connsiteY0" fmla="*/ 0 h 60688"/>
                  <a:gd name="connsiteX1" fmla="*/ 274589 w 274589"/>
                  <a:gd name="connsiteY1" fmla="*/ 8457 h 60688"/>
                  <a:gd name="connsiteX2" fmla="*/ 274589 w 274589"/>
                  <a:gd name="connsiteY2" fmla="*/ 52232 h 60688"/>
                  <a:gd name="connsiteX3" fmla="*/ 266135 w 274589"/>
                  <a:gd name="connsiteY3" fmla="*/ 60689 h 60688"/>
                  <a:gd name="connsiteX4" fmla="*/ 8454 w 274589"/>
                  <a:gd name="connsiteY4" fmla="*/ 60689 h 60688"/>
                  <a:gd name="connsiteX5" fmla="*/ 0 w 274589"/>
                  <a:gd name="connsiteY5" fmla="*/ 52232 h 60688"/>
                  <a:gd name="connsiteX6" fmla="*/ 0 w 274589"/>
                  <a:gd name="connsiteY6" fmla="*/ 8457 h 60688"/>
                  <a:gd name="connsiteX7" fmla="*/ 8454 w 274589"/>
                  <a:gd name="connsiteY7" fmla="*/ 0 h 60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4589" h="60688">
                    <a:moveTo>
                      <a:pt x="266135" y="0"/>
                    </a:moveTo>
                    <a:cubicBezTo>
                      <a:pt x="270804" y="0"/>
                      <a:pt x="274589" y="3786"/>
                      <a:pt x="274589" y="8457"/>
                    </a:cubicBezTo>
                    <a:lnTo>
                      <a:pt x="274589" y="52232"/>
                    </a:lnTo>
                    <a:cubicBezTo>
                      <a:pt x="274589" y="56902"/>
                      <a:pt x="270804" y="60689"/>
                      <a:pt x="266135" y="60689"/>
                    </a:cubicBezTo>
                    <a:lnTo>
                      <a:pt x="8454" y="60689"/>
                    </a:lnTo>
                    <a:cubicBezTo>
                      <a:pt x="3785" y="60689"/>
                      <a:pt x="0" y="56902"/>
                      <a:pt x="0" y="52232"/>
                    </a:cubicBezTo>
                    <a:lnTo>
                      <a:pt x="0" y="8457"/>
                    </a:lnTo>
                    <a:cubicBezTo>
                      <a:pt x="0" y="3786"/>
                      <a:pt x="3785" y="0"/>
                      <a:pt x="845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8" name="Freihandform 507">
                <a:extLst>
                  <a:ext uri="{FF2B5EF4-FFF2-40B4-BE49-F238E27FC236}">
                    <a16:creationId xmlns:a16="http://schemas.microsoft.com/office/drawing/2014/main" id="{3FE1CE1D-9515-009F-5EBC-D6E79B78BCA9}"/>
                  </a:ext>
                </a:extLst>
              </p:cNvPr>
              <p:cNvSpPr/>
              <p:nvPr/>
            </p:nvSpPr>
            <p:spPr>
              <a:xfrm>
                <a:off x="9266731" y="2085911"/>
                <a:ext cx="248973" cy="21110"/>
              </a:xfrm>
              <a:custGeom>
                <a:avLst/>
                <a:gdLst>
                  <a:gd name="connsiteX0" fmla="*/ 245903 w 248973"/>
                  <a:gd name="connsiteY0" fmla="*/ 0 h 21110"/>
                  <a:gd name="connsiteX1" fmla="*/ 248974 w 248973"/>
                  <a:gd name="connsiteY1" fmla="*/ 3072 h 21110"/>
                  <a:gd name="connsiteX2" fmla="*/ 248974 w 248973"/>
                  <a:gd name="connsiteY2" fmla="*/ 18038 h 21110"/>
                  <a:gd name="connsiteX3" fmla="*/ 245903 w 248973"/>
                  <a:gd name="connsiteY3" fmla="*/ 21110 h 21110"/>
                  <a:gd name="connsiteX4" fmla="*/ 3071 w 248973"/>
                  <a:gd name="connsiteY4" fmla="*/ 21110 h 21110"/>
                  <a:gd name="connsiteX5" fmla="*/ 0 w 248973"/>
                  <a:gd name="connsiteY5" fmla="*/ 18038 h 21110"/>
                  <a:gd name="connsiteX6" fmla="*/ 0 w 248973"/>
                  <a:gd name="connsiteY6" fmla="*/ 3072 h 21110"/>
                  <a:gd name="connsiteX7" fmla="*/ 3071 w 248973"/>
                  <a:gd name="connsiteY7" fmla="*/ 0 h 21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8973" h="21110">
                    <a:moveTo>
                      <a:pt x="245903" y="0"/>
                    </a:moveTo>
                    <a:cubicBezTo>
                      <a:pt x="247599" y="0"/>
                      <a:pt x="248974" y="1375"/>
                      <a:pt x="248974" y="3072"/>
                    </a:cubicBezTo>
                    <a:lnTo>
                      <a:pt x="248974" y="18038"/>
                    </a:lnTo>
                    <a:cubicBezTo>
                      <a:pt x="248974" y="19735"/>
                      <a:pt x="247599" y="21110"/>
                      <a:pt x="245903" y="21110"/>
                    </a:cubicBezTo>
                    <a:lnTo>
                      <a:pt x="3071" y="21110"/>
                    </a:lnTo>
                    <a:cubicBezTo>
                      <a:pt x="1375" y="21110"/>
                      <a:pt x="0" y="19735"/>
                      <a:pt x="0" y="18038"/>
                    </a:cubicBezTo>
                    <a:lnTo>
                      <a:pt x="0" y="3072"/>
                    </a:lnTo>
                    <a:cubicBezTo>
                      <a:pt x="0" y="1375"/>
                      <a:pt x="1375" y="0"/>
                      <a:pt x="3071" y="0"/>
                    </a:cubicBezTo>
                    <a:close/>
                  </a:path>
                </a:pathLst>
              </a:custGeom>
              <a:solidFill>
                <a:srgbClr val="3B9B9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9" name="Freihandform 508">
                <a:extLst>
                  <a:ext uri="{FF2B5EF4-FFF2-40B4-BE49-F238E27FC236}">
                    <a16:creationId xmlns:a16="http://schemas.microsoft.com/office/drawing/2014/main" id="{50C3BD14-AD00-59F0-B376-BAA1C581AA60}"/>
                  </a:ext>
                </a:extLst>
              </p:cNvPr>
              <p:cNvSpPr/>
              <p:nvPr/>
            </p:nvSpPr>
            <p:spPr>
              <a:xfrm>
                <a:off x="9280075" y="1944814"/>
                <a:ext cx="13369" cy="123273"/>
              </a:xfrm>
              <a:custGeom>
                <a:avLst/>
                <a:gdLst>
                  <a:gd name="connsiteX0" fmla="*/ 9958 w 13369"/>
                  <a:gd name="connsiteY0" fmla="*/ 64177 h 123273"/>
                  <a:gd name="connsiteX1" fmla="*/ 9958 w 13369"/>
                  <a:gd name="connsiteY1" fmla="*/ 3274 h 123273"/>
                  <a:gd name="connsiteX2" fmla="*/ 6685 w 13369"/>
                  <a:gd name="connsiteY2" fmla="*/ 0 h 123273"/>
                  <a:gd name="connsiteX3" fmla="*/ 3412 w 13369"/>
                  <a:gd name="connsiteY3" fmla="*/ 3274 h 123273"/>
                  <a:gd name="connsiteX4" fmla="*/ 3412 w 13369"/>
                  <a:gd name="connsiteY4" fmla="*/ 64177 h 123273"/>
                  <a:gd name="connsiteX5" fmla="*/ 0 w 13369"/>
                  <a:gd name="connsiteY5" fmla="*/ 73001 h 123273"/>
                  <a:gd name="connsiteX6" fmla="*/ 0 w 13369"/>
                  <a:gd name="connsiteY6" fmla="*/ 123273 h 123273"/>
                  <a:gd name="connsiteX7" fmla="*/ 13370 w 13369"/>
                  <a:gd name="connsiteY7" fmla="*/ 123273 h 123273"/>
                  <a:gd name="connsiteX8" fmla="*/ 13370 w 13369"/>
                  <a:gd name="connsiteY8" fmla="*/ 73001 h 123273"/>
                  <a:gd name="connsiteX9" fmla="*/ 9958 w 13369"/>
                  <a:gd name="connsiteY9" fmla="*/ 64177 h 12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369" h="123273">
                    <a:moveTo>
                      <a:pt x="9958" y="64177"/>
                    </a:moveTo>
                    <a:lnTo>
                      <a:pt x="9958" y="3274"/>
                    </a:lnTo>
                    <a:cubicBezTo>
                      <a:pt x="9958" y="1466"/>
                      <a:pt x="8492" y="0"/>
                      <a:pt x="6685" y="0"/>
                    </a:cubicBezTo>
                    <a:cubicBezTo>
                      <a:pt x="4878" y="0"/>
                      <a:pt x="3412" y="1466"/>
                      <a:pt x="3412" y="3274"/>
                    </a:cubicBezTo>
                    <a:lnTo>
                      <a:pt x="3412" y="64177"/>
                    </a:lnTo>
                    <a:lnTo>
                      <a:pt x="0" y="73001"/>
                    </a:lnTo>
                    <a:lnTo>
                      <a:pt x="0" y="123273"/>
                    </a:lnTo>
                    <a:lnTo>
                      <a:pt x="13370" y="123273"/>
                    </a:lnTo>
                    <a:lnTo>
                      <a:pt x="13370" y="73001"/>
                    </a:lnTo>
                    <a:lnTo>
                      <a:pt x="9958" y="64177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0" name="Freihandform 509">
                <a:extLst>
                  <a:ext uri="{FF2B5EF4-FFF2-40B4-BE49-F238E27FC236}">
                    <a16:creationId xmlns:a16="http://schemas.microsoft.com/office/drawing/2014/main" id="{7C0909E7-6C17-234B-A6F2-9B37A975503D}"/>
                  </a:ext>
                </a:extLst>
              </p:cNvPr>
              <p:cNvSpPr/>
              <p:nvPr/>
            </p:nvSpPr>
            <p:spPr>
              <a:xfrm>
                <a:off x="9488978" y="1944814"/>
                <a:ext cx="13369" cy="123273"/>
              </a:xfrm>
              <a:custGeom>
                <a:avLst/>
                <a:gdLst>
                  <a:gd name="connsiteX0" fmla="*/ 9958 w 13369"/>
                  <a:gd name="connsiteY0" fmla="*/ 64177 h 123273"/>
                  <a:gd name="connsiteX1" fmla="*/ 9958 w 13369"/>
                  <a:gd name="connsiteY1" fmla="*/ 3274 h 123273"/>
                  <a:gd name="connsiteX2" fmla="*/ 6685 w 13369"/>
                  <a:gd name="connsiteY2" fmla="*/ 0 h 123273"/>
                  <a:gd name="connsiteX3" fmla="*/ 3412 w 13369"/>
                  <a:gd name="connsiteY3" fmla="*/ 3274 h 123273"/>
                  <a:gd name="connsiteX4" fmla="*/ 3412 w 13369"/>
                  <a:gd name="connsiteY4" fmla="*/ 64177 h 123273"/>
                  <a:gd name="connsiteX5" fmla="*/ 0 w 13369"/>
                  <a:gd name="connsiteY5" fmla="*/ 73001 h 123273"/>
                  <a:gd name="connsiteX6" fmla="*/ 0 w 13369"/>
                  <a:gd name="connsiteY6" fmla="*/ 123273 h 123273"/>
                  <a:gd name="connsiteX7" fmla="*/ 13370 w 13369"/>
                  <a:gd name="connsiteY7" fmla="*/ 123273 h 123273"/>
                  <a:gd name="connsiteX8" fmla="*/ 13370 w 13369"/>
                  <a:gd name="connsiteY8" fmla="*/ 73001 h 123273"/>
                  <a:gd name="connsiteX9" fmla="*/ 9958 w 13369"/>
                  <a:gd name="connsiteY9" fmla="*/ 64177 h 12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369" h="123273">
                    <a:moveTo>
                      <a:pt x="9958" y="64177"/>
                    </a:moveTo>
                    <a:lnTo>
                      <a:pt x="9958" y="3274"/>
                    </a:lnTo>
                    <a:cubicBezTo>
                      <a:pt x="9958" y="1466"/>
                      <a:pt x="8492" y="0"/>
                      <a:pt x="6685" y="0"/>
                    </a:cubicBezTo>
                    <a:cubicBezTo>
                      <a:pt x="4878" y="0"/>
                      <a:pt x="3412" y="1466"/>
                      <a:pt x="3412" y="3274"/>
                    </a:cubicBezTo>
                    <a:lnTo>
                      <a:pt x="3412" y="64177"/>
                    </a:lnTo>
                    <a:lnTo>
                      <a:pt x="0" y="73001"/>
                    </a:lnTo>
                    <a:lnTo>
                      <a:pt x="0" y="123273"/>
                    </a:lnTo>
                    <a:lnTo>
                      <a:pt x="13370" y="123273"/>
                    </a:lnTo>
                    <a:lnTo>
                      <a:pt x="13370" y="73001"/>
                    </a:lnTo>
                    <a:lnTo>
                      <a:pt x="9958" y="64177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1" name="Freihandform 510">
                <a:extLst>
                  <a:ext uri="{FF2B5EF4-FFF2-40B4-BE49-F238E27FC236}">
                    <a16:creationId xmlns:a16="http://schemas.microsoft.com/office/drawing/2014/main" id="{9CB69A38-4AD0-5E3A-4E49-2D88C761BB38}"/>
                  </a:ext>
                </a:extLst>
              </p:cNvPr>
              <p:cNvSpPr/>
              <p:nvPr/>
            </p:nvSpPr>
            <p:spPr>
              <a:xfrm>
                <a:off x="9273176" y="2091637"/>
                <a:ext cx="236071" cy="9670"/>
              </a:xfrm>
              <a:custGeom>
                <a:avLst/>
                <a:gdLst>
                  <a:gd name="connsiteX0" fmla="*/ 231244 w 236071"/>
                  <a:gd name="connsiteY0" fmla="*/ 0 h 9670"/>
                  <a:gd name="connsiteX1" fmla="*/ 236072 w 236071"/>
                  <a:gd name="connsiteY1" fmla="*/ 4829 h 9670"/>
                  <a:gd name="connsiteX2" fmla="*/ 236072 w 236071"/>
                  <a:gd name="connsiteY2" fmla="*/ 4842 h 9670"/>
                  <a:gd name="connsiteX3" fmla="*/ 231244 w 236071"/>
                  <a:gd name="connsiteY3" fmla="*/ 9670 h 9670"/>
                  <a:gd name="connsiteX4" fmla="*/ 4827 w 236071"/>
                  <a:gd name="connsiteY4" fmla="*/ 9670 h 9670"/>
                  <a:gd name="connsiteX5" fmla="*/ 0 w 236071"/>
                  <a:gd name="connsiteY5" fmla="*/ 4842 h 9670"/>
                  <a:gd name="connsiteX6" fmla="*/ 0 w 236071"/>
                  <a:gd name="connsiteY6" fmla="*/ 4829 h 9670"/>
                  <a:gd name="connsiteX7" fmla="*/ 4827 w 236071"/>
                  <a:gd name="connsiteY7" fmla="*/ 0 h 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6071" h="9670">
                    <a:moveTo>
                      <a:pt x="231244" y="0"/>
                    </a:moveTo>
                    <a:cubicBezTo>
                      <a:pt x="233910" y="0"/>
                      <a:pt x="236072" y="2162"/>
                      <a:pt x="236072" y="4829"/>
                    </a:cubicBezTo>
                    <a:lnTo>
                      <a:pt x="236072" y="4842"/>
                    </a:lnTo>
                    <a:cubicBezTo>
                      <a:pt x="236072" y="7508"/>
                      <a:pt x="233910" y="9670"/>
                      <a:pt x="231244" y="9670"/>
                    </a:cubicBezTo>
                    <a:lnTo>
                      <a:pt x="4827" y="9670"/>
                    </a:lnTo>
                    <a:cubicBezTo>
                      <a:pt x="2161" y="9670"/>
                      <a:pt x="0" y="7508"/>
                      <a:pt x="0" y="4842"/>
                    </a:cubicBezTo>
                    <a:lnTo>
                      <a:pt x="0" y="4829"/>
                    </a:lnTo>
                    <a:cubicBezTo>
                      <a:pt x="0" y="2162"/>
                      <a:pt x="2161" y="0"/>
                      <a:pt x="4827" y="0"/>
                    </a:cubicBezTo>
                    <a:close/>
                  </a:path>
                </a:pathLst>
              </a:custGeom>
              <a:solidFill>
                <a:srgbClr val="08665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512" name="Grafik 5">
                <a:extLst>
                  <a:ext uri="{FF2B5EF4-FFF2-40B4-BE49-F238E27FC236}">
                    <a16:creationId xmlns:a16="http://schemas.microsoft.com/office/drawing/2014/main" id="{CD2368F7-9FA4-E139-EE25-3D15C47BFF35}"/>
                  </a:ext>
                </a:extLst>
              </p:cNvPr>
              <p:cNvGrpSpPr/>
              <p:nvPr/>
            </p:nvGrpSpPr>
            <p:grpSpPr>
              <a:xfrm>
                <a:off x="9280075" y="2094279"/>
                <a:ext cx="222272" cy="4373"/>
                <a:chOff x="9280075" y="2094279"/>
                <a:chExt cx="222272" cy="4373"/>
              </a:xfrm>
              <a:solidFill>
                <a:srgbClr val="B9D257"/>
              </a:solidFill>
            </p:grpSpPr>
            <p:sp>
              <p:nvSpPr>
                <p:cNvPr id="513" name="Freihandform 512">
                  <a:extLst>
                    <a:ext uri="{FF2B5EF4-FFF2-40B4-BE49-F238E27FC236}">
                      <a16:creationId xmlns:a16="http://schemas.microsoft.com/office/drawing/2014/main" id="{582E7A89-1F6E-684D-B1D0-9B8A9AA7C3BC}"/>
                    </a:ext>
                  </a:extLst>
                </p:cNvPr>
                <p:cNvSpPr/>
                <p:nvPr/>
              </p:nvSpPr>
              <p:spPr>
                <a:xfrm>
                  <a:off x="9280075" y="2094279"/>
                  <a:ext cx="17653" cy="4373"/>
                </a:xfrm>
                <a:custGeom>
                  <a:avLst/>
                  <a:gdLst>
                    <a:gd name="connsiteX0" fmla="*/ 0 w 17653"/>
                    <a:gd name="connsiteY0" fmla="*/ 0 h 4373"/>
                    <a:gd name="connsiteX1" fmla="*/ 17653 w 17653"/>
                    <a:gd name="connsiteY1" fmla="*/ 0 h 4373"/>
                    <a:gd name="connsiteX2" fmla="*/ 17653 w 17653"/>
                    <a:gd name="connsiteY2" fmla="*/ 4374 h 4373"/>
                    <a:gd name="connsiteX3" fmla="*/ 0 w 17653"/>
                    <a:gd name="connsiteY3" fmla="*/ 4374 h 4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653" h="4373">
                      <a:moveTo>
                        <a:pt x="0" y="0"/>
                      </a:moveTo>
                      <a:lnTo>
                        <a:pt x="17653" y="0"/>
                      </a:lnTo>
                      <a:lnTo>
                        <a:pt x="17653" y="4374"/>
                      </a:lnTo>
                      <a:lnTo>
                        <a:pt x="0" y="4374"/>
                      </a:lnTo>
                      <a:close/>
                    </a:path>
                  </a:pathLst>
                </a:custGeom>
                <a:solidFill>
                  <a:srgbClr val="B9D25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14" name="Grafik 5">
                  <a:extLst>
                    <a:ext uri="{FF2B5EF4-FFF2-40B4-BE49-F238E27FC236}">
                      <a16:creationId xmlns:a16="http://schemas.microsoft.com/office/drawing/2014/main" id="{430F8355-508A-CC7F-E43C-D024071A5C6E}"/>
                    </a:ext>
                  </a:extLst>
                </p:cNvPr>
                <p:cNvGrpSpPr/>
                <p:nvPr/>
              </p:nvGrpSpPr>
              <p:grpSpPr>
                <a:xfrm>
                  <a:off x="9415860" y="2094279"/>
                  <a:ext cx="86487" cy="4373"/>
                  <a:chOff x="9415860" y="2094279"/>
                  <a:chExt cx="86487" cy="4373"/>
                </a:xfrm>
                <a:solidFill>
                  <a:srgbClr val="B9D257"/>
                </a:solidFill>
              </p:grpSpPr>
              <p:sp>
                <p:nvSpPr>
                  <p:cNvPr id="515" name="Freihandform 514">
                    <a:extLst>
                      <a:ext uri="{FF2B5EF4-FFF2-40B4-BE49-F238E27FC236}">
                        <a16:creationId xmlns:a16="http://schemas.microsoft.com/office/drawing/2014/main" id="{B2E00D58-7170-41C0-A8CE-AB2388ED516F}"/>
                      </a:ext>
                    </a:extLst>
                  </p:cNvPr>
                  <p:cNvSpPr/>
                  <p:nvPr/>
                </p:nvSpPr>
                <p:spPr>
                  <a:xfrm>
                    <a:off x="9415860" y="2094279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6" name="Freihandform 515">
                    <a:extLst>
                      <a:ext uri="{FF2B5EF4-FFF2-40B4-BE49-F238E27FC236}">
                        <a16:creationId xmlns:a16="http://schemas.microsoft.com/office/drawing/2014/main" id="{CD3C4B7B-7F07-1660-0A40-67FE929A30C6}"/>
                      </a:ext>
                    </a:extLst>
                  </p:cNvPr>
                  <p:cNvSpPr/>
                  <p:nvPr/>
                </p:nvSpPr>
                <p:spPr>
                  <a:xfrm>
                    <a:off x="9431681" y="2094279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7" name="Freihandform 516">
                    <a:extLst>
                      <a:ext uri="{FF2B5EF4-FFF2-40B4-BE49-F238E27FC236}">
                        <a16:creationId xmlns:a16="http://schemas.microsoft.com/office/drawing/2014/main" id="{726DFDD2-E8CB-1948-C6CB-939D46518D77}"/>
                      </a:ext>
                    </a:extLst>
                  </p:cNvPr>
                  <p:cNvSpPr/>
                  <p:nvPr/>
                </p:nvSpPr>
                <p:spPr>
                  <a:xfrm>
                    <a:off x="9447490" y="2094279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8" name="Freihandform 517">
                    <a:extLst>
                      <a:ext uri="{FF2B5EF4-FFF2-40B4-BE49-F238E27FC236}">
                        <a16:creationId xmlns:a16="http://schemas.microsoft.com/office/drawing/2014/main" id="{8DEFF2BB-CB96-DA23-4763-D41CE5435D3A}"/>
                      </a:ext>
                    </a:extLst>
                  </p:cNvPr>
                  <p:cNvSpPr/>
                  <p:nvPr/>
                </p:nvSpPr>
                <p:spPr>
                  <a:xfrm>
                    <a:off x="9463312" y="2094279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9" name="Freihandform 518">
                    <a:extLst>
                      <a:ext uri="{FF2B5EF4-FFF2-40B4-BE49-F238E27FC236}">
                        <a16:creationId xmlns:a16="http://schemas.microsoft.com/office/drawing/2014/main" id="{7C563071-CBDC-7F1A-5FDB-521F9A08688D}"/>
                      </a:ext>
                    </a:extLst>
                  </p:cNvPr>
                  <p:cNvSpPr/>
                  <p:nvPr/>
                </p:nvSpPr>
                <p:spPr>
                  <a:xfrm>
                    <a:off x="9479133" y="2094279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0" name="Freihandform 519">
                    <a:extLst>
                      <a:ext uri="{FF2B5EF4-FFF2-40B4-BE49-F238E27FC236}">
                        <a16:creationId xmlns:a16="http://schemas.microsoft.com/office/drawing/2014/main" id="{DFB47046-DF43-9FAE-5077-ACEC23D56687}"/>
                      </a:ext>
                    </a:extLst>
                  </p:cNvPr>
                  <p:cNvSpPr/>
                  <p:nvPr/>
                </p:nvSpPr>
                <p:spPr>
                  <a:xfrm>
                    <a:off x="9494942" y="2094279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21" name="Grafik 5">
            <a:extLst>
              <a:ext uri="{FF2B5EF4-FFF2-40B4-BE49-F238E27FC236}">
                <a16:creationId xmlns:a16="http://schemas.microsoft.com/office/drawing/2014/main" id="{3564B6F5-A773-5A1F-92F5-ECBE270ECEDC}"/>
              </a:ext>
            </a:extLst>
          </p:cNvPr>
          <p:cNvGrpSpPr/>
          <p:nvPr/>
        </p:nvGrpSpPr>
        <p:grpSpPr>
          <a:xfrm>
            <a:off x="9140812" y="2193307"/>
            <a:ext cx="500783" cy="285568"/>
            <a:chOff x="9140812" y="2193307"/>
            <a:chExt cx="500783" cy="285568"/>
          </a:xfrm>
        </p:grpSpPr>
        <p:sp>
          <p:nvSpPr>
            <p:cNvPr id="522" name="Freihandform 521">
              <a:extLst>
                <a:ext uri="{FF2B5EF4-FFF2-40B4-BE49-F238E27FC236}">
                  <a16:creationId xmlns:a16="http://schemas.microsoft.com/office/drawing/2014/main" id="{4E1F611E-57C3-FBDD-4A36-DA2F5AF7E385}"/>
                </a:ext>
              </a:extLst>
            </p:cNvPr>
            <p:cNvSpPr/>
            <p:nvPr/>
          </p:nvSpPr>
          <p:spPr>
            <a:xfrm>
              <a:off x="9140812" y="2448867"/>
              <a:ext cx="500783" cy="30009"/>
            </a:xfrm>
            <a:custGeom>
              <a:avLst/>
              <a:gdLst>
                <a:gd name="connsiteX0" fmla="*/ 451865 w 500783"/>
                <a:gd name="connsiteY0" fmla="*/ 0 h 30009"/>
                <a:gd name="connsiteX1" fmla="*/ 48934 w 500783"/>
                <a:gd name="connsiteY1" fmla="*/ 0 h 30009"/>
                <a:gd name="connsiteX2" fmla="*/ 21424 w 500783"/>
                <a:gd name="connsiteY2" fmla="*/ 7104 h 30009"/>
                <a:gd name="connsiteX3" fmla="*/ 3606 w 500783"/>
                <a:gd name="connsiteY3" fmla="*/ 16951 h 30009"/>
                <a:gd name="connsiteX4" fmla="*/ 6980 w 500783"/>
                <a:gd name="connsiteY4" fmla="*/ 30009 h 30009"/>
                <a:gd name="connsiteX5" fmla="*/ 493808 w 500783"/>
                <a:gd name="connsiteY5" fmla="*/ 30009 h 30009"/>
                <a:gd name="connsiteX6" fmla="*/ 497181 w 500783"/>
                <a:gd name="connsiteY6" fmla="*/ 16951 h 30009"/>
                <a:gd name="connsiteX7" fmla="*/ 479363 w 500783"/>
                <a:gd name="connsiteY7" fmla="*/ 7104 h 30009"/>
                <a:gd name="connsiteX8" fmla="*/ 451853 w 500783"/>
                <a:gd name="connsiteY8" fmla="*/ 0 h 3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783" h="30009">
                  <a:moveTo>
                    <a:pt x="451865" y="0"/>
                  </a:moveTo>
                  <a:lnTo>
                    <a:pt x="48934" y="0"/>
                  </a:lnTo>
                  <a:cubicBezTo>
                    <a:pt x="39318" y="0"/>
                    <a:pt x="29852" y="2440"/>
                    <a:pt x="21424" y="7104"/>
                  </a:cubicBezTo>
                  <a:lnTo>
                    <a:pt x="3606" y="16951"/>
                  </a:lnTo>
                  <a:cubicBezTo>
                    <a:pt x="-2687" y="20428"/>
                    <a:pt x="-223" y="30009"/>
                    <a:pt x="6980" y="30009"/>
                  </a:cubicBezTo>
                  <a:lnTo>
                    <a:pt x="493808" y="30009"/>
                  </a:lnTo>
                  <a:cubicBezTo>
                    <a:pt x="500998" y="30009"/>
                    <a:pt x="503474" y="20428"/>
                    <a:pt x="497181" y="16951"/>
                  </a:cubicBezTo>
                  <a:lnTo>
                    <a:pt x="479363" y="7104"/>
                  </a:lnTo>
                  <a:cubicBezTo>
                    <a:pt x="470947" y="2452"/>
                    <a:pt x="461482" y="0"/>
                    <a:pt x="451853" y="0"/>
                  </a:cubicBezTo>
                  <a:close/>
                </a:path>
              </a:pathLst>
            </a:custGeom>
            <a:solidFill>
              <a:srgbClr val="9BBA4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23" name="Grafik 5">
              <a:extLst>
                <a:ext uri="{FF2B5EF4-FFF2-40B4-BE49-F238E27FC236}">
                  <a16:creationId xmlns:a16="http://schemas.microsoft.com/office/drawing/2014/main" id="{94151D3F-2C7A-6B58-FBFE-36D3E935CD0C}"/>
                </a:ext>
              </a:extLst>
            </p:cNvPr>
            <p:cNvGrpSpPr/>
            <p:nvPr/>
          </p:nvGrpSpPr>
          <p:grpSpPr>
            <a:xfrm>
              <a:off x="9185083" y="2193307"/>
              <a:ext cx="412256" cy="274773"/>
              <a:chOff x="9185083" y="2193307"/>
              <a:chExt cx="412256" cy="274773"/>
            </a:xfrm>
          </p:grpSpPr>
          <p:sp>
            <p:nvSpPr>
              <p:cNvPr id="524" name="Freihandform 523">
                <a:extLst>
                  <a:ext uri="{FF2B5EF4-FFF2-40B4-BE49-F238E27FC236}">
                    <a16:creationId xmlns:a16="http://schemas.microsoft.com/office/drawing/2014/main" id="{078ABEC3-A38C-3DDF-6940-1FB827805E75}"/>
                  </a:ext>
                </a:extLst>
              </p:cNvPr>
              <p:cNvSpPr/>
              <p:nvPr/>
            </p:nvSpPr>
            <p:spPr>
              <a:xfrm>
                <a:off x="9198087" y="2249913"/>
                <a:ext cx="386249" cy="218167"/>
              </a:xfrm>
              <a:custGeom>
                <a:avLst/>
                <a:gdLst>
                  <a:gd name="connsiteX0" fmla="*/ 0 w 386249"/>
                  <a:gd name="connsiteY0" fmla="*/ 0 h 218167"/>
                  <a:gd name="connsiteX1" fmla="*/ 386250 w 386249"/>
                  <a:gd name="connsiteY1" fmla="*/ 0 h 218167"/>
                  <a:gd name="connsiteX2" fmla="*/ 386250 w 386249"/>
                  <a:gd name="connsiteY2" fmla="*/ 218168 h 218167"/>
                  <a:gd name="connsiteX3" fmla="*/ 0 w 386249"/>
                  <a:gd name="connsiteY3" fmla="*/ 218168 h 218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249" h="218167">
                    <a:moveTo>
                      <a:pt x="0" y="0"/>
                    </a:moveTo>
                    <a:lnTo>
                      <a:pt x="386250" y="0"/>
                    </a:lnTo>
                    <a:lnTo>
                      <a:pt x="386250" y="218168"/>
                    </a:lnTo>
                    <a:lnTo>
                      <a:pt x="0" y="218168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5" name="Freihandform 524">
                <a:extLst>
                  <a:ext uri="{FF2B5EF4-FFF2-40B4-BE49-F238E27FC236}">
                    <a16:creationId xmlns:a16="http://schemas.microsoft.com/office/drawing/2014/main" id="{621E1BA5-C6C0-4591-15EB-24BC11218ADE}"/>
                  </a:ext>
                </a:extLst>
              </p:cNvPr>
              <p:cNvSpPr/>
              <p:nvPr/>
            </p:nvSpPr>
            <p:spPr>
              <a:xfrm>
                <a:off x="9185083" y="2193320"/>
                <a:ext cx="412256" cy="81798"/>
              </a:xfrm>
              <a:custGeom>
                <a:avLst/>
                <a:gdLst>
                  <a:gd name="connsiteX0" fmla="*/ 402413 w 412256"/>
                  <a:gd name="connsiteY0" fmla="*/ 0 h 81798"/>
                  <a:gd name="connsiteX1" fmla="*/ 412257 w 412256"/>
                  <a:gd name="connsiteY1" fmla="*/ 9847 h 81798"/>
                  <a:gd name="connsiteX2" fmla="*/ 412257 w 412256"/>
                  <a:gd name="connsiteY2" fmla="*/ 71952 h 81798"/>
                  <a:gd name="connsiteX3" fmla="*/ 402413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3" y="0"/>
                    </a:moveTo>
                    <a:cubicBezTo>
                      <a:pt x="407849" y="0"/>
                      <a:pt x="412257" y="4409"/>
                      <a:pt x="412257" y="9847"/>
                    </a:cubicBezTo>
                    <a:lnTo>
                      <a:pt x="412257" y="71952"/>
                    </a:lnTo>
                    <a:cubicBezTo>
                      <a:pt x="412257" y="77390"/>
                      <a:pt x="407849" y="81799"/>
                      <a:pt x="402413" y="81799"/>
                    </a:cubicBezTo>
                    <a:lnTo>
                      <a:pt x="9844" y="81799"/>
                    </a:lnTo>
                    <a:cubicBezTo>
                      <a:pt x="4408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8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6" name="Freihandform 525">
                <a:extLst>
                  <a:ext uri="{FF2B5EF4-FFF2-40B4-BE49-F238E27FC236}">
                    <a16:creationId xmlns:a16="http://schemas.microsoft.com/office/drawing/2014/main" id="{623ADAAA-1E07-C631-2C80-0A285FABF804}"/>
                  </a:ext>
                </a:extLst>
              </p:cNvPr>
              <p:cNvSpPr/>
              <p:nvPr/>
            </p:nvSpPr>
            <p:spPr>
              <a:xfrm>
                <a:off x="9185083" y="2289795"/>
                <a:ext cx="412256" cy="81798"/>
              </a:xfrm>
              <a:custGeom>
                <a:avLst/>
                <a:gdLst>
                  <a:gd name="connsiteX0" fmla="*/ 402413 w 412256"/>
                  <a:gd name="connsiteY0" fmla="*/ 0 h 81798"/>
                  <a:gd name="connsiteX1" fmla="*/ 412257 w 412256"/>
                  <a:gd name="connsiteY1" fmla="*/ 9847 h 81798"/>
                  <a:gd name="connsiteX2" fmla="*/ 412257 w 412256"/>
                  <a:gd name="connsiteY2" fmla="*/ 71952 h 81798"/>
                  <a:gd name="connsiteX3" fmla="*/ 402413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3" y="0"/>
                    </a:moveTo>
                    <a:cubicBezTo>
                      <a:pt x="407849" y="0"/>
                      <a:pt x="412257" y="4409"/>
                      <a:pt x="412257" y="9847"/>
                    </a:cubicBezTo>
                    <a:lnTo>
                      <a:pt x="412257" y="71952"/>
                    </a:lnTo>
                    <a:cubicBezTo>
                      <a:pt x="412257" y="77390"/>
                      <a:pt x="407849" y="81799"/>
                      <a:pt x="402413" y="81799"/>
                    </a:cubicBezTo>
                    <a:lnTo>
                      <a:pt x="9844" y="81799"/>
                    </a:lnTo>
                    <a:cubicBezTo>
                      <a:pt x="4408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8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7" name="Freihandform 526">
                <a:extLst>
                  <a:ext uri="{FF2B5EF4-FFF2-40B4-BE49-F238E27FC236}">
                    <a16:creationId xmlns:a16="http://schemas.microsoft.com/office/drawing/2014/main" id="{831CB5B2-76F3-7ED2-8EEA-7495428D16F0}"/>
                  </a:ext>
                </a:extLst>
              </p:cNvPr>
              <p:cNvSpPr/>
              <p:nvPr/>
            </p:nvSpPr>
            <p:spPr>
              <a:xfrm>
                <a:off x="9185083" y="2386269"/>
                <a:ext cx="412256" cy="81798"/>
              </a:xfrm>
              <a:custGeom>
                <a:avLst/>
                <a:gdLst>
                  <a:gd name="connsiteX0" fmla="*/ 402413 w 412256"/>
                  <a:gd name="connsiteY0" fmla="*/ 0 h 81798"/>
                  <a:gd name="connsiteX1" fmla="*/ 412257 w 412256"/>
                  <a:gd name="connsiteY1" fmla="*/ 9847 h 81798"/>
                  <a:gd name="connsiteX2" fmla="*/ 412257 w 412256"/>
                  <a:gd name="connsiteY2" fmla="*/ 71952 h 81798"/>
                  <a:gd name="connsiteX3" fmla="*/ 402413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3" y="0"/>
                    </a:moveTo>
                    <a:cubicBezTo>
                      <a:pt x="407849" y="0"/>
                      <a:pt x="412257" y="4409"/>
                      <a:pt x="412257" y="9847"/>
                    </a:cubicBezTo>
                    <a:lnTo>
                      <a:pt x="412257" y="71952"/>
                    </a:lnTo>
                    <a:cubicBezTo>
                      <a:pt x="412257" y="77390"/>
                      <a:pt x="407849" y="81799"/>
                      <a:pt x="402413" y="81799"/>
                    </a:cubicBezTo>
                    <a:lnTo>
                      <a:pt x="9844" y="81799"/>
                    </a:lnTo>
                    <a:cubicBezTo>
                      <a:pt x="4408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8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528" name="Grafik 5">
                <a:extLst>
                  <a:ext uri="{FF2B5EF4-FFF2-40B4-BE49-F238E27FC236}">
                    <a16:creationId xmlns:a16="http://schemas.microsoft.com/office/drawing/2014/main" id="{3F494A95-C917-45F7-AB2C-6B49E97916F7}"/>
                  </a:ext>
                </a:extLst>
              </p:cNvPr>
              <p:cNvGrpSpPr/>
              <p:nvPr/>
            </p:nvGrpSpPr>
            <p:grpSpPr>
              <a:xfrm>
                <a:off x="9471336" y="2193307"/>
                <a:ext cx="126003" cy="274760"/>
                <a:chOff x="9471336" y="2193307"/>
                <a:chExt cx="126003" cy="274760"/>
              </a:xfrm>
              <a:solidFill>
                <a:srgbClr val="08665C"/>
              </a:solidFill>
            </p:grpSpPr>
            <p:sp>
              <p:nvSpPr>
                <p:cNvPr id="529" name="Freihandform 528">
                  <a:extLst>
                    <a:ext uri="{FF2B5EF4-FFF2-40B4-BE49-F238E27FC236}">
                      <a16:creationId xmlns:a16="http://schemas.microsoft.com/office/drawing/2014/main" id="{5C7B9A98-32B6-7F67-5413-8B323227CBBA}"/>
                    </a:ext>
                  </a:extLst>
                </p:cNvPr>
                <p:cNvSpPr/>
                <p:nvPr/>
              </p:nvSpPr>
              <p:spPr>
                <a:xfrm>
                  <a:off x="9471336" y="2193307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0" name="Freihandform 529">
                  <a:extLst>
                    <a:ext uri="{FF2B5EF4-FFF2-40B4-BE49-F238E27FC236}">
                      <a16:creationId xmlns:a16="http://schemas.microsoft.com/office/drawing/2014/main" id="{23534F6E-526B-1372-7171-1C17FFDF300D}"/>
                    </a:ext>
                  </a:extLst>
                </p:cNvPr>
                <p:cNvSpPr/>
                <p:nvPr/>
              </p:nvSpPr>
              <p:spPr>
                <a:xfrm>
                  <a:off x="9471336" y="2289782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1" name="Freihandform 530">
                  <a:extLst>
                    <a:ext uri="{FF2B5EF4-FFF2-40B4-BE49-F238E27FC236}">
                      <a16:creationId xmlns:a16="http://schemas.microsoft.com/office/drawing/2014/main" id="{EE784E19-AD82-9AFC-4F6F-389321A103E3}"/>
                    </a:ext>
                  </a:extLst>
                </p:cNvPr>
                <p:cNvSpPr/>
                <p:nvPr/>
              </p:nvSpPr>
              <p:spPr>
                <a:xfrm>
                  <a:off x="9471336" y="2386269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2" name="Grafik 5">
                <a:extLst>
                  <a:ext uri="{FF2B5EF4-FFF2-40B4-BE49-F238E27FC236}">
                    <a16:creationId xmlns:a16="http://schemas.microsoft.com/office/drawing/2014/main" id="{937A9DAD-38BF-F1DC-B3E4-574AE1C62BE9}"/>
                  </a:ext>
                </a:extLst>
              </p:cNvPr>
              <p:cNvGrpSpPr/>
              <p:nvPr/>
            </p:nvGrpSpPr>
            <p:grpSpPr>
              <a:xfrm>
                <a:off x="9202497" y="2419565"/>
                <a:ext cx="377441" cy="15219"/>
                <a:chOff x="9202497" y="2419565"/>
                <a:chExt cx="377441" cy="15219"/>
              </a:xfrm>
            </p:grpSpPr>
            <p:grpSp>
              <p:nvGrpSpPr>
                <p:cNvPr id="533" name="Grafik 5">
                  <a:extLst>
                    <a:ext uri="{FF2B5EF4-FFF2-40B4-BE49-F238E27FC236}">
                      <a16:creationId xmlns:a16="http://schemas.microsoft.com/office/drawing/2014/main" id="{262A49F5-779C-775D-234D-004A645A2F15}"/>
                    </a:ext>
                  </a:extLst>
                </p:cNvPr>
                <p:cNvGrpSpPr/>
                <p:nvPr/>
              </p:nvGrpSpPr>
              <p:grpSpPr>
                <a:xfrm>
                  <a:off x="9202497" y="2420577"/>
                  <a:ext cx="99124" cy="13197"/>
                  <a:chOff x="9202497" y="2420577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534" name="Freihandform 533">
                    <a:extLst>
                      <a:ext uri="{FF2B5EF4-FFF2-40B4-BE49-F238E27FC236}">
                        <a16:creationId xmlns:a16="http://schemas.microsoft.com/office/drawing/2014/main" id="{F9CD2572-FAF9-0A4A-6410-E2539666A1BA}"/>
                      </a:ext>
                    </a:extLst>
                  </p:cNvPr>
                  <p:cNvSpPr/>
                  <p:nvPr/>
                </p:nvSpPr>
                <p:spPr>
                  <a:xfrm>
                    <a:off x="9202497" y="2420577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Freihandform 534">
                    <a:extLst>
                      <a:ext uri="{FF2B5EF4-FFF2-40B4-BE49-F238E27FC236}">
                        <a16:creationId xmlns:a16="http://schemas.microsoft.com/office/drawing/2014/main" id="{95C80F5D-E31B-1DFD-2351-4951C932FEEE}"/>
                      </a:ext>
                    </a:extLst>
                  </p:cNvPr>
                  <p:cNvSpPr/>
                  <p:nvPr/>
                </p:nvSpPr>
                <p:spPr>
                  <a:xfrm>
                    <a:off x="9231132" y="2420577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6" name="Freihandform 535">
                    <a:extLst>
                      <a:ext uri="{FF2B5EF4-FFF2-40B4-BE49-F238E27FC236}">
                        <a16:creationId xmlns:a16="http://schemas.microsoft.com/office/drawing/2014/main" id="{29A42B6E-92EA-E018-42B6-9019E8A581F1}"/>
                      </a:ext>
                    </a:extLst>
                  </p:cNvPr>
                  <p:cNvSpPr/>
                  <p:nvPr/>
                </p:nvSpPr>
                <p:spPr>
                  <a:xfrm>
                    <a:off x="9259780" y="2420577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7" name="Freihandform 536">
                    <a:extLst>
                      <a:ext uri="{FF2B5EF4-FFF2-40B4-BE49-F238E27FC236}">
                        <a16:creationId xmlns:a16="http://schemas.microsoft.com/office/drawing/2014/main" id="{D9182DB3-8ABB-CEDE-196D-AB6C44560D62}"/>
                      </a:ext>
                    </a:extLst>
                  </p:cNvPr>
                  <p:cNvSpPr/>
                  <p:nvPr/>
                </p:nvSpPr>
                <p:spPr>
                  <a:xfrm>
                    <a:off x="9288428" y="2420577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8" name="Freihandform 537">
                  <a:extLst>
                    <a:ext uri="{FF2B5EF4-FFF2-40B4-BE49-F238E27FC236}">
                      <a16:creationId xmlns:a16="http://schemas.microsoft.com/office/drawing/2014/main" id="{227A0922-6509-8C22-E8A4-357A7EE7EEBA}"/>
                    </a:ext>
                  </a:extLst>
                </p:cNvPr>
                <p:cNvSpPr/>
                <p:nvPr/>
              </p:nvSpPr>
              <p:spPr>
                <a:xfrm>
                  <a:off x="9535545" y="2419565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7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9" name="Freihandform 538">
                  <a:extLst>
                    <a:ext uri="{FF2B5EF4-FFF2-40B4-BE49-F238E27FC236}">
                      <a16:creationId xmlns:a16="http://schemas.microsoft.com/office/drawing/2014/main" id="{BA4247B4-0A62-8E70-962B-C995A4052AC7}"/>
                    </a:ext>
                  </a:extLst>
                </p:cNvPr>
                <p:cNvSpPr/>
                <p:nvPr/>
              </p:nvSpPr>
              <p:spPr>
                <a:xfrm>
                  <a:off x="9564724" y="2419565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0" name="Grafik 5">
                <a:extLst>
                  <a:ext uri="{FF2B5EF4-FFF2-40B4-BE49-F238E27FC236}">
                    <a16:creationId xmlns:a16="http://schemas.microsoft.com/office/drawing/2014/main" id="{B86218C5-FD71-2889-3BAE-FBC3955E7124}"/>
                  </a:ext>
                </a:extLst>
              </p:cNvPr>
              <p:cNvGrpSpPr/>
              <p:nvPr/>
            </p:nvGrpSpPr>
            <p:grpSpPr>
              <a:xfrm>
                <a:off x="9202497" y="2323091"/>
                <a:ext cx="377441" cy="15219"/>
                <a:chOff x="9202497" y="2323091"/>
                <a:chExt cx="377441" cy="15219"/>
              </a:xfrm>
            </p:grpSpPr>
            <p:grpSp>
              <p:nvGrpSpPr>
                <p:cNvPr id="541" name="Grafik 5">
                  <a:extLst>
                    <a:ext uri="{FF2B5EF4-FFF2-40B4-BE49-F238E27FC236}">
                      <a16:creationId xmlns:a16="http://schemas.microsoft.com/office/drawing/2014/main" id="{C3344D19-F12A-213B-4868-428EE51E543F}"/>
                    </a:ext>
                  </a:extLst>
                </p:cNvPr>
                <p:cNvGrpSpPr/>
                <p:nvPr/>
              </p:nvGrpSpPr>
              <p:grpSpPr>
                <a:xfrm>
                  <a:off x="9202497" y="2324102"/>
                  <a:ext cx="99124" cy="13197"/>
                  <a:chOff x="9202497" y="2324102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542" name="Freihandform 541">
                    <a:extLst>
                      <a:ext uri="{FF2B5EF4-FFF2-40B4-BE49-F238E27FC236}">
                        <a16:creationId xmlns:a16="http://schemas.microsoft.com/office/drawing/2014/main" id="{2CBD6A6A-7D2B-A914-BE6B-14D5D2D0642F}"/>
                      </a:ext>
                    </a:extLst>
                  </p:cNvPr>
                  <p:cNvSpPr/>
                  <p:nvPr/>
                </p:nvSpPr>
                <p:spPr>
                  <a:xfrm>
                    <a:off x="9202497" y="2324102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3" name="Freihandform 542">
                    <a:extLst>
                      <a:ext uri="{FF2B5EF4-FFF2-40B4-BE49-F238E27FC236}">
                        <a16:creationId xmlns:a16="http://schemas.microsoft.com/office/drawing/2014/main" id="{387092A2-6809-BE05-398E-02B739173085}"/>
                      </a:ext>
                    </a:extLst>
                  </p:cNvPr>
                  <p:cNvSpPr/>
                  <p:nvPr/>
                </p:nvSpPr>
                <p:spPr>
                  <a:xfrm>
                    <a:off x="9231132" y="2324102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4" name="Freihandform 543">
                    <a:extLst>
                      <a:ext uri="{FF2B5EF4-FFF2-40B4-BE49-F238E27FC236}">
                        <a16:creationId xmlns:a16="http://schemas.microsoft.com/office/drawing/2014/main" id="{6C1840FA-B697-4BDC-F1F8-413CF9A815B0}"/>
                      </a:ext>
                    </a:extLst>
                  </p:cNvPr>
                  <p:cNvSpPr/>
                  <p:nvPr/>
                </p:nvSpPr>
                <p:spPr>
                  <a:xfrm>
                    <a:off x="9259780" y="2324102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5" name="Freihandform 544">
                    <a:extLst>
                      <a:ext uri="{FF2B5EF4-FFF2-40B4-BE49-F238E27FC236}">
                        <a16:creationId xmlns:a16="http://schemas.microsoft.com/office/drawing/2014/main" id="{6136C9D3-795A-2E34-1E43-AD3F3911B5A5}"/>
                      </a:ext>
                    </a:extLst>
                  </p:cNvPr>
                  <p:cNvSpPr/>
                  <p:nvPr/>
                </p:nvSpPr>
                <p:spPr>
                  <a:xfrm>
                    <a:off x="9288428" y="2324102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46" name="Freihandform 545">
                  <a:extLst>
                    <a:ext uri="{FF2B5EF4-FFF2-40B4-BE49-F238E27FC236}">
                      <a16:creationId xmlns:a16="http://schemas.microsoft.com/office/drawing/2014/main" id="{089872C2-8CB8-C922-6D86-B043959123E7}"/>
                    </a:ext>
                  </a:extLst>
                </p:cNvPr>
                <p:cNvSpPr/>
                <p:nvPr/>
              </p:nvSpPr>
              <p:spPr>
                <a:xfrm>
                  <a:off x="9535545" y="2323091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19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19"/>
                        <a:pt x="7607" y="15219"/>
                      </a:cubicBezTo>
                      <a:cubicBezTo>
                        <a:pt x="3406" y="15219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7" name="Freihandform 546">
                  <a:extLst>
                    <a:ext uri="{FF2B5EF4-FFF2-40B4-BE49-F238E27FC236}">
                      <a16:creationId xmlns:a16="http://schemas.microsoft.com/office/drawing/2014/main" id="{35883540-C3B0-F597-E41D-DAB31B3DA053}"/>
                    </a:ext>
                  </a:extLst>
                </p:cNvPr>
                <p:cNvSpPr/>
                <p:nvPr/>
              </p:nvSpPr>
              <p:spPr>
                <a:xfrm>
                  <a:off x="9564724" y="2323091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19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19"/>
                        <a:pt x="7608" y="15219"/>
                      </a:cubicBezTo>
                      <a:cubicBezTo>
                        <a:pt x="3406" y="15219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8" name="Grafik 5">
                <a:extLst>
                  <a:ext uri="{FF2B5EF4-FFF2-40B4-BE49-F238E27FC236}">
                    <a16:creationId xmlns:a16="http://schemas.microsoft.com/office/drawing/2014/main" id="{DBBA55BD-E41B-DD42-E241-23BA6CC5EBB9}"/>
                  </a:ext>
                </a:extLst>
              </p:cNvPr>
              <p:cNvGrpSpPr/>
              <p:nvPr/>
            </p:nvGrpSpPr>
            <p:grpSpPr>
              <a:xfrm>
                <a:off x="9202497" y="2226603"/>
                <a:ext cx="377441" cy="15219"/>
                <a:chOff x="9202497" y="2226603"/>
                <a:chExt cx="377441" cy="15219"/>
              </a:xfrm>
            </p:grpSpPr>
            <p:grpSp>
              <p:nvGrpSpPr>
                <p:cNvPr id="549" name="Grafik 5">
                  <a:extLst>
                    <a:ext uri="{FF2B5EF4-FFF2-40B4-BE49-F238E27FC236}">
                      <a16:creationId xmlns:a16="http://schemas.microsoft.com/office/drawing/2014/main" id="{1D15C0B9-3759-C1DA-8A5D-EFDE124BD071}"/>
                    </a:ext>
                  </a:extLst>
                </p:cNvPr>
                <p:cNvGrpSpPr/>
                <p:nvPr/>
              </p:nvGrpSpPr>
              <p:grpSpPr>
                <a:xfrm>
                  <a:off x="9202497" y="2227614"/>
                  <a:ext cx="99124" cy="13197"/>
                  <a:chOff x="9202497" y="2227614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550" name="Freihandform 549">
                    <a:extLst>
                      <a:ext uri="{FF2B5EF4-FFF2-40B4-BE49-F238E27FC236}">
                        <a16:creationId xmlns:a16="http://schemas.microsoft.com/office/drawing/2014/main" id="{04A45DB8-D283-A8B5-6A2F-D7AA9FC316C9}"/>
                      </a:ext>
                    </a:extLst>
                  </p:cNvPr>
                  <p:cNvSpPr/>
                  <p:nvPr/>
                </p:nvSpPr>
                <p:spPr>
                  <a:xfrm>
                    <a:off x="9202497" y="222761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1" name="Freihandform 550">
                    <a:extLst>
                      <a:ext uri="{FF2B5EF4-FFF2-40B4-BE49-F238E27FC236}">
                        <a16:creationId xmlns:a16="http://schemas.microsoft.com/office/drawing/2014/main" id="{6E809FB5-B7FB-7644-9C38-123B2438EA90}"/>
                      </a:ext>
                    </a:extLst>
                  </p:cNvPr>
                  <p:cNvSpPr/>
                  <p:nvPr/>
                </p:nvSpPr>
                <p:spPr>
                  <a:xfrm>
                    <a:off x="9231132" y="222761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2" name="Freihandform 551">
                    <a:extLst>
                      <a:ext uri="{FF2B5EF4-FFF2-40B4-BE49-F238E27FC236}">
                        <a16:creationId xmlns:a16="http://schemas.microsoft.com/office/drawing/2014/main" id="{EC72D628-966B-3358-38F9-E34B57D4A995}"/>
                      </a:ext>
                    </a:extLst>
                  </p:cNvPr>
                  <p:cNvSpPr/>
                  <p:nvPr/>
                </p:nvSpPr>
                <p:spPr>
                  <a:xfrm>
                    <a:off x="9259780" y="222761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3" name="Freihandform 552">
                    <a:extLst>
                      <a:ext uri="{FF2B5EF4-FFF2-40B4-BE49-F238E27FC236}">
                        <a16:creationId xmlns:a16="http://schemas.microsoft.com/office/drawing/2014/main" id="{55575B5C-4BA4-202E-9BA0-5858DA391735}"/>
                      </a:ext>
                    </a:extLst>
                  </p:cNvPr>
                  <p:cNvSpPr/>
                  <p:nvPr/>
                </p:nvSpPr>
                <p:spPr>
                  <a:xfrm>
                    <a:off x="9288428" y="222761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4" name="Freihandform 553">
                  <a:extLst>
                    <a:ext uri="{FF2B5EF4-FFF2-40B4-BE49-F238E27FC236}">
                      <a16:creationId xmlns:a16="http://schemas.microsoft.com/office/drawing/2014/main" id="{084529E5-DFC3-01D1-02E8-2B3118EB7D1C}"/>
                    </a:ext>
                  </a:extLst>
                </p:cNvPr>
                <p:cNvSpPr/>
                <p:nvPr/>
              </p:nvSpPr>
              <p:spPr>
                <a:xfrm>
                  <a:off x="9535545" y="2226603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7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5" name="Freihandform 554">
                  <a:extLst>
                    <a:ext uri="{FF2B5EF4-FFF2-40B4-BE49-F238E27FC236}">
                      <a16:creationId xmlns:a16="http://schemas.microsoft.com/office/drawing/2014/main" id="{29CE1746-D32E-8599-4E6B-1E346E2A56ED}"/>
                    </a:ext>
                  </a:extLst>
                </p:cNvPr>
                <p:cNvSpPr/>
                <p:nvPr/>
              </p:nvSpPr>
              <p:spPr>
                <a:xfrm>
                  <a:off x="9564724" y="2226603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556" name="Grafik 5">
            <a:extLst>
              <a:ext uri="{FF2B5EF4-FFF2-40B4-BE49-F238E27FC236}">
                <a16:creationId xmlns:a16="http://schemas.microsoft.com/office/drawing/2014/main" id="{AD268F54-FB55-D515-E677-5055E6406775}"/>
              </a:ext>
            </a:extLst>
          </p:cNvPr>
          <p:cNvGrpSpPr/>
          <p:nvPr/>
        </p:nvGrpSpPr>
        <p:grpSpPr>
          <a:xfrm>
            <a:off x="9913753" y="2193307"/>
            <a:ext cx="500783" cy="285568"/>
            <a:chOff x="9913753" y="2193307"/>
            <a:chExt cx="500783" cy="285568"/>
          </a:xfrm>
        </p:grpSpPr>
        <p:sp>
          <p:nvSpPr>
            <p:cNvPr id="557" name="Freihandform 556">
              <a:extLst>
                <a:ext uri="{FF2B5EF4-FFF2-40B4-BE49-F238E27FC236}">
                  <a16:creationId xmlns:a16="http://schemas.microsoft.com/office/drawing/2014/main" id="{A8DB174F-D060-D720-CA7C-31B1507B74C9}"/>
                </a:ext>
              </a:extLst>
            </p:cNvPr>
            <p:cNvSpPr/>
            <p:nvPr/>
          </p:nvSpPr>
          <p:spPr>
            <a:xfrm>
              <a:off x="9913753" y="2448867"/>
              <a:ext cx="500783" cy="30009"/>
            </a:xfrm>
            <a:custGeom>
              <a:avLst/>
              <a:gdLst>
                <a:gd name="connsiteX0" fmla="*/ 451865 w 500783"/>
                <a:gd name="connsiteY0" fmla="*/ 0 h 30009"/>
                <a:gd name="connsiteX1" fmla="*/ 48935 w 500783"/>
                <a:gd name="connsiteY1" fmla="*/ 0 h 30009"/>
                <a:gd name="connsiteX2" fmla="*/ 21424 w 500783"/>
                <a:gd name="connsiteY2" fmla="*/ 7104 h 30009"/>
                <a:gd name="connsiteX3" fmla="*/ 3606 w 500783"/>
                <a:gd name="connsiteY3" fmla="*/ 16951 h 30009"/>
                <a:gd name="connsiteX4" fmla="*/ 6980 w 500783"/>
                <a:gd name="connsiteY4" fmla="*/ 30009 h 30009"/>
                <a:gd name="connsiteX5" fmla="*/ 493808 w 500783"/>
                <a:gd name="connsiteY5" fmla="*/ 30009 h 30009"/>
                <a:gd name="connsiteX6" fmla="*/ 497181 w 500783"/>
                <a:gd name="connsiteY6" fmla="*/ 16951 h 30009"/>
                <a:gd name="connsiteX7" fmla="*/ 479363 w 500783"/>
                <a:gd name="connsiteY7" fmla="*/ 7104 h 30009"/>
                <a:gd name="connsiteX8" fmla="*/ 451853 w 500783"/>
                <a:gd name="connsiteY8" fmla="*/ 0 h 3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783" h="30009">
                  <a:moveTo>
                    <a:pt x="451865" y="0"/>
                  </a:moveTo>
                  <a:lnTo>
                    <a:pt x="48935" y="0"/>
                  </a:lnTo>
                  <a:cubicBezTo>
                    <a:pt x="39318" y="0"/>
                    <a:pt x="29853" y="2440"/>
                    <a:pt x="21424" y="7104"/>
                  </a:cubicBezTo>
                  <a:lnTo>
                    <a:pt x="3606" y="16951"/>
                  </a:lnTo>
                  <a:cubicBezTo>
                    <a:pt x="-2687" y="20428"/>
                    <a:pt x="-223" y="30009"/>
                    <a:pt x="6980" y="30009"/>
                  </a:cubicBezTo>
                  <a:lnTo>
                    <a:pt x="493808" y="30009"/>
                  </a:lnTo>
                  <a:cubicBezTo>
                    <a:pt x="500998" y="30009"/>
                    <a:pt x="503475" y="20428"/>
                    <a:pt x="497181" y="16951"/>
                  </a:cubicBezTo>
                  <a:lnTo>
                    <a:pt x="479363" y="7104"/>
                  </a:lnTo>
                  <a:cubicBezTo>
                    <a:pt x="470947" y="2452"/>
                    <a:pt x="461482" y="0"/>
                    <a:pt x="451853" y="0"/>
                  </a:cubicBezTo>
                  <a:close/>
                </a:path>
              </a:pathLst>
            </a:custGeom>
            <a:solidFill>
              <a:srgbClr val="9BBA4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58" name="Grafik 5">
              <a:extLst>
                <a:ext uri="{FF2B5EF4-FFF2-40B4-BE49-F238E27FC236}">
                  <a16:creationId xmlns:a16="http://schemas.microsoft.com/office/drawing/2014/main" id="{F9D37DAD-DA4C-6170-7E24-3B79015313DE}"/>
                </a:ext>
              </a:extLst>
            </p:cNvPr>
            <p:cNvGrpSpPr/>
            <p:nvPr/>
          </p:nvGrpSpPr>
          <p:grpSpPr>
            <a:xfrm>
              <a:off x="9958025" y="2193307"/>
              <a:ext cx="412256" cy="274773"/>
              <a:chOff x="9958025" y="2193307"/>
              <a:chExt cx="412256" cy="274773"/>
            </a:xfrm>
          </p:grpSpPr>
          <p:sp>
            <p:nvSpPr>
              <p:cNvPr id="559" name="Freihandform 558">
                <a:extLst>
                  <a:ext uri="{FF2B5EF4-FFF2-40B4-BE49-F238E27FC236}">
                    <a16:creationId xmlns:a16="http://schemas.microsoft.com/office/drawing/2014/main" id="{C7E31BDA-BE99-C949-F24D-02A58668A283}"/>
                  </a:ext>
                </a:extLst>
              </p:cNvPr>
              <p:cNvSpPr/>
              <p:nvPr/>
            </p:nvSpPr>
            <p:spPr>
              <a:xfrm>
                <a:off x="9971028" y="2249913"/>
                <a:ext cx="386249" cy="218167"/>
              </a:xfrm>
              <a:custGeom>
                <a:avLst/>
                <a:gdLst>
                  <a:gd name="connsiteX0" fmla="*/ 0 w 386249"/>
                  <a:gd name="connsiteY0" fmla="*/ 0 h 218167"/>
                  <a:gd name="connsiteX1" fmla="*/ 386250 w 386249"/>
                  <a:gd name="connsiteY1" fmla="*/ 0 h 218167"/>
                  <a:gd name="connsiteX2" fmla="*/ 386250 w 386249"/>
                  <a:gd name="connsiteY2" fmla="*/ 218168 h 218167"/>
                  <a:gd name="connsiteX3" fmla="*/ 0 w 386249"/>
                  <a:gd name="connsiteY3" fmla="*/ 218168 h 218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249" h="218167">
                    <a:moveTo>
                      <a:pt x="0" y="0"/>
                    </a:moveTo>
                    <a:lnTo>
                      <a:pt x="386250" y="0"/>
                    </a:lnTo>
                    <a:lnTo>
                      <a:pt x="386250" y="218168"/>
                    </a:lnTo>
                    <a:lnTo>
                      <a:pt x="0" y="218168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0" name="Freihandform 559">
                <a:extLst>
                  <a:ext uri="{FF2B5EF4-FFF2-40B4-BE49-F238E27FC236}">
                    <a16:creationId xmlns:a16="http://schemas.microsoft.com/office/drawing/2014/main" id="{9CD030D5-F732-BD4C-5084-C4681B8CF5D6}"/>
                  </a:ext>
                </a:extLst>
              </p:cNvPr>
              <p:cNvSpPr/>
              <p:nvPr/>
            </p:nvSpPr>
            <p:spPr>
              <a:xfrm>
                <a:off x="9958025" y="2193320"/>
                <a:ext cx="412256" cy="81798"/>
              </a:xfrm>
              <a:custGeom>
                <a:avLst/>
                <a:gdLst>
                  <a:gd name="connsiteX0" fmla="*/ 402412 w 412256"/>
                  <a:gd name="connsiteY0" fmla="*/ 0 h 81798"/>
                  <a:gd name="connsiteX1" fmla="*/ 412256 w 412256"/>
                  <a:gd name="connsiteY1" fmla="*/ 9847 h 81798"/>
                  <a:gd name="connsiteX2" fmla="*/ 412256 w 412256"/>
                  <a:gd name="connsiteY2" fmla="*/ 71952 h 81798"/>
                  <a:gd name="connsiteX3" fmla="*/ 402412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2" y="0"/>
                    </a:moveTo>
                    <a:cubicBezTo>
                      <a:pt x="407849" y="0"/>
                      <a:pt x="412256" y="4409"/>
                      <a:pt x="412256" y="9847"/>
                    </a:cubicBezTo>
                    <a:lnTo>
                      <a:pt x="412256" y="71952"/>
                    </a:lnTo>
                    <a:cubicBezTo>
                      <a:pt x="412256" y="77390"/>
                      <a:pt x="407849" y="81799"/>
                      <a:pt x="402412" y="81799"/>
                    </a:cubicBezTo>
                    <a:lnTo>
                      <a:pt x="9844" y="81799"/>
                    </a:lnTo>
                    <a:cubicBezTo>
                      <a:pt x="4407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7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1" name="Freihandform 560">
                <a:extLst>
                  <a:ext uri="{FF2B5EF4-FFF2-40B4-BE49-F238E27FC236}">
                    <a16:creationId xmlns:a16="http://schemas.microsoft.com/office/drawing/2014/main" id="{396297B2-847E-1310-49DC-7CA875A9D3FE}"/>
                  </a:ext>
                </a:extLst>
              </p:cNvPr>
              <p:cNvSpPr/>
              <p:nvPr/>
            </p:nvSpPr>
            <p:spPr>
              <a:xfrm>
                <a:off x="9958025" y="2289795"/>
                <a:ext cx="412256" cy="81798"/>
              </a:xfrm>
              <a:custGeom>
                <a:avLst/>
                <a:gdLst>
                  <a:gd name="connsiteX0" fmla="*/ 402412 w 412256"/>
                  <a:gd name="connsiteY0" fmla="*/ 0 h 81798"/>
                  <a:gd name="connsiteX1" fmla="*/ 412256 w 412256"/>
                  <a:gd name="connsiteY1" fmla="*/ 9847 h 81798"/>
                  <a:gd name="connsiteX2" fmla="*/ 412256 w 412256"/>
                  <a:gd name="connsiteY2" fmla="*/ 71952 h 81798"/>
                  <a:gd name="connsiteX3" fmla="*/ 402412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2" y="0"/>
                    </a:moveTo>
                    <a:cubicBezTo>
                      <a:pt x="407849" y="0"/>
                      <a:pt x="412256" y="4409"/>
                      <a:pt x="412256" y="9847"/>
                    </a:cubicBezTo>
                    <a:lnTo>
                      <a:pt x="412256" y="71952"/>
                    </a:lnTo>
                    <a:cubicBezTo>
                      <a:pt x="412256" y="77390"/>
                      <a:pt x="407849" y="81799"/>
                      <a:pt x="402412" y="81799"/>
                    </a:cubicBezTo>
                    <a:lnTo>
                      <a:pt x="9844" y="81799"/>
                    </a:lnTo>
                    <a:cubicBezTo>
                      <a:pt x="4407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7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2" name="Freihandform 561">
                <a:extLst>
                  <a:ext uri="{FF2B5EF4-FFF2-40B4-BE49-F238E27FC236}">
                    <a16:creationId xmlns:a16="http://schemas.microsoft.com/office/drawing/2014/main" id="{4513896E-6989-7CE9-8AD0-C351CED96ED3}"/>
                  </a:ext>
                </a:extLst>
              </p:cNvPr>
              <p:cNvSpPr/>
              <p:nvPr/>
            </p:nvSpPr>
            <p:spPr>
              <a:xfrm>
                <a:off x="9958025" y="2386269"/>
                <a:ext cx="412256" cy="81798"/>
              </a:xfrm>
              <a:custGeom>
                <a:avLst/>
                <a:gdLst>
                  <a:gd name="connsiteX0" fmla="*/ 402412 w 412256"/>
                  <a:gd name="connsiteY0" fmla="*/ 0 h 81798"/>
                  <a:gd name="connsiteX1" fmla="*/ 412256 w 412256"/>
                  <a:gd name="connsiteY1" fmla="*/ 9847 h 81798"/>
                  <a:gd name="connsiteX2" fmla="*/ 412256 w 412256"/>
                  <a:gd name="connsiteY2" fmla="*/ 71952 h 81798"/>
                  <a:gd name="connsiteX3" fmla="*/ 402412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2" y="0"/>
                    </a:moveTo>
                    <a:cubicBezTo>
                      <a:pt x="407849" y="0"/>
                      <a:pt x="412256" y="4409"/>
                      <a:pt x="412256" y="9847"/>
                    </a:cubicBezTo>
                    <a:lnTo>
                      <a:pt x="412256" y="71952"/>
                    </a:lnTo>
                    <a:cubicBezTo>
                      <a:pt x="412256" y="77390"/>
                      <a:pt x="407849" y="81799"/>
                      <a:pt x="402412" y="81799"/>
                    </a:cubicBezTo>
                    <a:lnTo>
                      <a:pt x="9844" y="81799"/>
                    </a:lnTo>
                    <a:cubicBezTo>
                      <a:pt x="4407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7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563" name="Grafik 5">
                <a:extLst>
                  <a:ext uri="{FF2B5EF4-FFF2-40B4-BE49-F238E27FC236}">
                    <a16:creationId xmlns:a16="http://schemas.microsoft.com/office/drawing/2014/main" id="{437018A2-ABB2-9BDC-FDB2-815F98B22713}"/>
                  </a:ext>
                </a:extLst>
              </p:cNvPr>
              <p:cNvGrpSpPr/>
              <p:nvPr/>
            </p:nvGrpSpPr>
            <p:grpSpPr>
              <a:xfrm>
                <a:off x="10244278" y="2193307"/>
                <a:ext cx="126003" cy="274760"/>
                <a:chOff x="10244278" y="2193307"/>
                <a:chExt cx="126003" cy="274760"/>
              </a:xfrm>
              <a:solidFill>
                <a:srgbClr val="08665C"/>
              </a:solidFill>
            </p:grpSpPr>
            <p:sp>
              <p:nvSpPr>
                <p:cNvPr id="564" name="Freihandform 563">
                  <a:extLst>
                    <a:ext uri="{FF2B5EF4-FFF2-40B4-BE49-F238E27FC236}">
                      <a16:creationId xmlns:a16="http://schemas.microsoft.com/office/drawing/2014/main" id="{4E10BB76-0B2A-BB5B-CF35-FCD5D6A14571}"/>
                    </a:ext>
                  </a:extLst>
                </p:cNvPr>
                <p:cNvSpPr/>
                <p:nvPr/>
              </p:nvSpPr>
              <p:spPr>
                <a:xfrm>
                  <a:off x="10244278" y="2193307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5" name="Freihandform 564">
                  <a:extLst>
                    <a:ext uri="{FF2B5EF4-FFF2-40B4-BE49-F238E27FC236}">
                      <a16:creationId xmlns:a16="http://schemas.microsoft.com/office/drawing/2014/main" id="{B7FD4167-DBAB-7210-4089-428E9892EDE9}"/>
                    </a:ext>
                  </a:extLst>
                </p:cNvPr>
                <p:cNvSpPr/>
                <p:nvPr/>
              </p:nvSpPr>
              <p:spPr>
                <a:xfrm>
                  <a:off x="10244278" y="2289782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6" name="Freihandform 565">
                  <a:extLst>
                    <a:ext uri="{FF2B5EF4-FFF2-40B4-BE49-F238E27FC236}">
                      <a16:creationId xmlns:a16="http://schemas.microsoft.com/office/drawing/2014/main" id="{FADA29C9-D1DC-54EE-9BF4-4504E46A08AE}"/>
                    </a:ext>
                  </a:extLst>
                </p:cNvPr>
                <p:cNvSpPr/>
                <p:nvPr/>
              </p:nvSpPr>
              <p:spPr>
                <a:xfrm>
                  <a:off x="10244278" y="2386269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67" name="Grafik 5">
                <a:extLst>
                  <a:ext uri="{FF2B5EF4-FFF2-40B4-BE49-F238E27FC236}">
                    <a16:creationId xmlns:a16="http://schemas.microsoft.com/office/drawing/2014/main" id="{FF4FD9C9-5573-5DC1-07ED-4134D00241A8}"/>
                  </a:ext>
                </a:extLst>
              </p:cNvPr>
              <p:cNvGrpSpPr/>
              <p:nvPr/>
            </p:nvGrpSpPr>
            <p:grpSpPr>
              <a:xfrm>
                <a:off x="9975438" y="2419565"/>
                <a:ext cx="377441" cy="15219"/>
                <a:chOff x="9975438" y="2419565"/>
                <a:chExt cx="377441" cy="15219"/>
              </a:xfrm>
            </p:grpSpPr>
            <p:grpSp>
              <p:nvGrpSpPr>
                <p:cNvPr id="568" name="Grafik 5">
                  <a:extLst>
                    <a:ext uri="{FF2B5EF4-FFF2-40B4-BE49-F238E27FC236}">
                      <a16:creationId xmlns:a16="http://schemas.microsoft.com/office/drawing/2014/main" id="{42746960-20B8-8859-51F7-145D49D8AE30}"/>
                    </a:ext>
                  </a:extLst>
                </p:cNvPr>
                <p:cNvGrpSpPr/>
                <p:nvPr/>
              </p:nvGrpSpPr>
              <p:grpSpPr>
                <a:xfrm>
                  <a:off x="9975438" y="2420577"/>
                  <a:ext cx="99124" cy="13197"/>
                  <a:chOff x="9975438" y="2420577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569" name="Freihandform 568">
                    <a:extLst>
                      <a:ext uri="{FF2B5EF4-FFF2-40B4-BE49-F238E27FC236}">
                        <a16:creationId xmlns:a16="http://schemas.microsoft.com/office/drawing/2014/main" id="{C8878776-02B2-5E82-A464-F7FFBECBA34E}"/>
                      </a:ext>
                    </a:extLst>
                  </p:cNvPr>
                  <p:cNvSpPr/>
                  <p:nvPr/>
                </p:nvSpPr>
                <p:spPr>
                  <a:xfrm>
                    <a:off x="9975438" y="2420577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70" name="Freihandform 569">
                    <a:extLst>
                      <a:ext uri="{FF2B5EF4-FFF2-40B4-BE49-F238E27FC236}">
                        <a16:creationId xmlns:a16="http://schemas.microsoft.com/office/drawing/2014/main" id="{25446893-B1C4-4BA5-2A74-5E514F639752}"/>
                      </a:ext>
                    </a:extLst>
                  </p:cNvPr>
                  <p:cNvSpPr/>
                  <p:nvPr/>
                </p:nvSpPr>
                <p:spPr>
                  <a:xfrm>
                    <a:off x="10004074" y="2420577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71" name="Freihandform 570">
                    <a:extLst>
                      <a:ext uri="{FF2B5EF4-FFF2-40B4-BE49-F238E27FC236}">
                        <a16:creationId xmlns:a16="http://schemas.microsoft.com/office/drawing/2014/main" id="{1C352B49-D1A0-BBB0-7F54-8C314B4F4DF2}"/>
                      </a:ext>
                    </a:extLst>
                  </p:cNvPr>
                  <p:cNvSpPr/>
                  <p:nvPr/>
                </p:nvSpPr>
                <p:spPr>
                  <a:xfrm>
                    <a:off x="10032722" y="2420577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72" name="Freihandform 571">
                    <a:extLst>
                      <a:ext uri="{FF2B5EF4-FFF2-40B4-BE49-F238E27FC236}">
                        <a16:creationId xmlns:a16="http://schemas.microsoft.com/office/drawing/2014/main" id="{CEE2C538-177C-5D45-552B-C8AE2B60929D}"/>
                      </a:ext>
                    </a:extLst>
                  </p:cNvPr>
                  <p:cNvSpPr/>
                  <p:nvPr/>
                </p:nvSpPr>
                <p:spPr>
                  <a:xfrm>
                    <a:off x="10061370" y="2420577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73" name="Freihandform 572">
                  <a:extLst>
                    <a:ext uri="{FF2B5EF4-FFF2-40B4-BE49-F238E27FC236}">
                      <a16:creationId xmlns:a16="http://schemas.microsoft.com/office/drawing/2014/main" id="{96F508DA-DA2A-643E-1225-9EC5CC47EE21}"/>
                    </a:ext>
                  </a:extLst>
                </p:cNvPr>
                <p:cNvSpPr/>
                <p:nvPr/>
              </p:nvSpPr>
              <p:spPr>
                <a:xfrm>
                  <a:off x="10308486" y="2419565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7" y="15220"/>
                        <a:pt x="0" y="11813"/>
                        <a:pt x="0" y="7610"/>
                      </a:cubicBezTo>
                      <a:cubicBezTo>
                        <a:pt x="0" y="3407"/>
                        <a:pt x="3407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4" name="Freihandform 573">
                  <a:extLst>
                    <a:ext uri="{FF2B5EF4-FFF2-40B4-BE49-F238E27FC236}">
                      <a16:creationId xmlns:a16="http://schemas.microsoft.com/office/drawing/2014/main" id="{00F6B1F0-FF7E-D51C-C4D8-30A3207E76D7}"/>
                    </a:ext>
                  </a:extLst>
                </p:cNvPr>
                <p:cNvSpPr/>
                <p:nvPr/>
              </p:nvSpPr>
              <p:spPr>
                <a:xfrm>
                  <a:off x="10337665" y="2419565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7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5" name="Grafik 5">
                <a:extLst>
                  <a:ext uri="{FF2B5EF4-FFF2-40B4-BE49-F238E27FC236}">
                    <a16:creationId xmlns:a16="http://schemas.microsoft.com/office/drawing/2014/main" id="{64C68066-86DC-F49A-3204-B37386EB8278}"/>
                  </a:ext>
                </a:extLst>
              </p:cNvPr>
              <p:cNvGrpSpPr/>
              <p:nvPr/>
            </p:nvGrpSpPr>
            <p:grpSpPr>
              <a:xfrm>
                <a:off x="9975438" y="2323091"/>
                <a:ext cx="377441" cy="15219"/>
                <a:chOff x="9975438" y="2323091"/>
                <a:chExt cx="377441" cy="15219"/>
              </a:xfrm>
            </p:grpSpPr>
            <p:grpSp>
              <p:nvGrpSpPr>
                <p:cNvPr id="576" name="Grafik 5">
                  <a:extLst>
                    <a:ext uri="{FF2B5EF4-FFF2-40B4-BE49-F238E27FC236}">
                      <a16:creationId xmlns:a16="http://schemas.microsoft.com/office/drawing/2014/main" id="{B6C1355C-F727-A56F-7D5C-0BE6256636FF}"/>
                    </a:ext>
                  </a:extLst>
                </p:cNvPr>
                <p:cNvGrpSpPr/>
                <p:nvPr/>
              </p:nvGrpSpPr>
              <p:grpSpPr>
                <a:xfrm>
                  <a:off x="9975438" y="2324102"/>
                  <a:ext cx="99124" cy="13197"/>
                  <a:chOff x="9975438" y="2324102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577" name="Freihandform 576">
                    <a:extLst>
                      <a:ext uri="{FF2B5EF4-FFF2-40B4-BE49-F238E27FC236}">
                        <a16:creationId xmlns:a16="http://schemas.microsoft.com/office/drawing/2014/main" id="{1562315B-DB6E-1058-9EFC-25FD9842DBF1}"/>
                      </a:ext>
                    </a:extLst>
                  </p:cNvPr>
                  <p:cNvSpPr/>
                  <p:nvPr/>
                </p:nvSpPr>
                <p:spPr>
                  <a:xfrm>
                    <a:off x="9975438" y="2324102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78" name="Freihandform 577">
                    <a:extLst>
                      <a:ext uri="{FF2B5EF4-FFF2-40B4-BE49-F238E27FC236}">
                        <a16:creationId xmlns:a16="http://schemas.microsoft.com/office/drawing/2014/main" id="{6A015FB7-6B95-8A85-A1CF-4CFDD22FF8F0}"/>
                      </a:ext>
                    </a:extLst>
                  </p:cNvPr>
                  <p:cNvSpPr/>
                  <p:nvPr/>
                </p:nvSpPr>
                <p:spPr>
                  <a:xfrm>
                    <a:off x="10004074" y="2324102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79" name="Freihandform 578">
                    <a:extLst>
                      <a:ext uri="{FF2B5EF4-FFF2-40B4-BE49-F238E27FC236}">
                        <a16:creationId xmlns:a16="http://schemas.microsoft.com/office/drawing/2014/main" id="{9DE6CA8E-36B2-56BA-A258-8080CBDEF3A4}"/>
                      </a:ext>
                    </a:extLst>
                  </p:cNvPr>
                  <p:cNvSpPr/>
                  <p:nvPr/>
                </p:nvSpPr>
                <p:spPr>
                  <a:xfrm>
                    <a:off x="10032722" y="2324102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0" name="Freihandform 579">
                    <a:extLst>
                      <a:ext uri="{FF2B5EF4-FFF2-40B4-BE49-F238E27FC236}">
                        <a16:creationId xmlns:a16="http://schemas.microsoft.com/office/drawing/2014/main" id="{C135AA0C-A5A7-2BAF-DBFA-7CFB30AF648B}"/>
                      </a:ext>
                    </a:extLst>
                  </p:cNvPr>
                  <p:cNvSpPr/>
                  <p:nvPr/>
                </p:nvSpPr>
                <p:spPr>
                  <a:xfrm>
                    <a:off x="10061370" y="2324102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1" name="Freihandform 580">
                  <a:extLst>
                    <a:ext uri="{FF2B5EF4-FFF2-40B4-BE49-F238E27FC236}">
                      <a16:creationId xmlns:a16="http://schemas.microsoft.com/office/drawing/2014/main" id="{F24C9FFE-F4A5-7D32-869F-AEEA3C39680B}"/>
                    </a:ext>
                  </a:extLst>
                </p:cNvPr>
                <p:cNvSpPr/>
                <p:nvPr/>
              </p:nvSpPr>
              <p:spPr>
                <a:xfrm>
                  <a:off x="10308486" y="2323091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19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19"/>
                        <a:pt x="7608" y="15219"/>
                      </a:cubicBezTo>
                      <a:cubicBezTo>
                        <a:pt x="3407" y="15219"/>
                        <a:pt x="0" y="11812"/>
                        <a:pt x="0" y="7610"/>
                      </a:cubicBezTo>
                      <a:cubicBezTo>
                        <a:pt x="0" y="3407"/>
                        <a:pt x="3407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2" name="Freihandform 581">
                  <a:extLst>
                    <a:ext uri="{FF2B5EF4-FFF2-40B4-BE49-F238E27FC236}">
                      <a16:creationId xmlns:a16="http://schemas.microsoft.com/office/drawing/2014/main" id="{6D560D3B-6134-7820-529F-15A7758F224F}"/>
                    </a:ext>
                  </a:extLst>
                </p:cNvPr>
                <p:cNvSpPr/>
                <p:nvPr/>
              </p:nvSpPr>
              <p:spPr>
                <a:xfrm>
                  <a:off x="10337665" y="2323091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19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19"/>
                        <a:pt x="7607" y="15219"/>
                      </a:cubicBezTo>
                      <a:cubicBezTo>
                        <a:pt x="3406" y="15219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83" name="Grafik 5">
                <a:extLst>
                  <a:ext uri="{FF2B5EF4-FFF2-40B4-BE49-F238E27FC236}">
                    <a16:creationId xmlns:a16="http://schemas.microsoft.com/office/drawing/2014/main" id="{8B7F0A3C-9E83-A017-811E-452242EF91C1}"/>
                  </a:ext>
                </a:extLst>
              </p:cNvPr>
              <p:cNvGrpSpPr/>
              <p:nvPr/>
            </p:nvGrpSpPr>
            <p:grpSpPr>
              <a:xfrm>
                <a:off x="9975438" y="2226603"/>
                <a:ext cx="377441" cy="15219"/>
                <a:chOff x="9975438" y="2226603"/>
                <a:chExt cx="377441" cy="15219"/>
              </a:xfrm>
            </p:grpSpPr>
            <p:grpSp>
              <p:nvGrpSpPr>
                <p:cNvPr id="584" name="Grafik 5">
                  <a:extLst>
                    <a:ext uri="{FF2B5EF4-FFF2-40B4-BE49-F238E27FC236}">
                      <a16:creationId xmlns:a16="http://schemas.microsoft.com/office/drawing/2014/main" id="{0E46600E-7AD6-2334-8C69-33F39ECB8626}"/>
                    </a:ext>
                  </a:extLst>
                </p:cNvPr>
                <p:cNvGrpSpPr/>
                <p:nvPr/>
              </p:nvGrpSpPr>
              <p:grpSpPr>
                <a:xfrm>
                  <a:off x="9975438" y="2227614"/>
                  <a:ext cx="99124" cy="13197"/>
                  <a:chOff x="9975438" y="2227614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585" name="Freihandform 584">
                    <a:extLst>
                      <a:ext uri="{FF2B5EF4-FFF2-40B4-BE49-F238E27FC236}">
                        <a16:creationId xmlns:a16="http://schemas.microsoft.com/office/drawing/2014/main" id="{50A5DA5C-2C36-7251-383D-1627F7996ADC}"/>
                      </a:ext>
                    </a:extLst>
                  </p:cNvPr>
                  <p:cNvSpPr/>
                  <p:nvPr/>
                </p:nvSpPr>
                <p:spPr>
                  <a:xfrm>
                    <a:off x="9975438" y="222761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6" name="Freihandform 585">
                    <a:extLst>
                      <a:ext uri="{FF2B5EF4-FFF2-40B4-BE49-F238E27FC236}">
                        <a16:creationId xmlns:a16="http://schemas.microsoft.com/office/drawing/2014/main" id="{F091FB9A-9A1A-A646-E674-3EB7C1E713B0}"/>
                      </a:ext>
                    </a:extLst>
                  </p:cNvPr>
                  <p:cNvSpPr/>
                  <p:nvPr/>
                </p:nvSpPr>
                <p:spPr>
                  <a:xfrm>
                    <a:off x="10004074" y="222761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7" name="Freihandform 586">
                    <a:extLst>
                      <a:ext uri="{FF2B5EF4-FFF2-40B4-BE49-F238E27FC236}">
                        <a16:creationId xmlns:a16="http://schemas.microsoft.com/office/drawing/2014/main" id="{40C4B866-41F3-9F4C-9817-98263AF6A723}"/>
                      </a:ext>
                    </a:extLst>
                  </p:cNvPr>
                  <p:cNvSpPr/>
                  <p:nvPr/>
                </p:nvSpPr>
                <p:spPr>
                  <a:xfrm>
                    <a:off x="10032722" y="222761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8" name="Freihandform 587">
                    <a:extLst>
                      <a:ext uri="{FF2B5EF4-FFF2-40B4-BE49-F238E27FC236}">
                        <a16:creationId xmlns:a16="http://schemas.microsoft.com/office/drawing/2014/main" id="{1910FAB6-8F0A-DDF8-689F-168A469B4501}"/>
                      </a:ext>
                    </a:extLst>
                  </p:cNvPr>
                  <p:cNvSpPr/>
                  <p:nvPr/>
                </p:nvSpPr>
                <p:spPr>
                  <a:xfrm>
                    <a:off x="10061370" y="222761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9" name="Freihandform 588">
                  <a:extLst>
                    <a:ext uri="{FF2B5EF4-FFF2-40B4-BE49-F238E27FC236}">
                      <a16:creationId xmlns:a16="http://schemas.microsoft.com/office/drawing/2014/main" id="{359E167A-FDA9-0E9F-BE82-7FC47BF8749B}"/>
                    </a:ext>
                  </a:extLst>
                </p:cNvPr>
                <p:cNvSpPr/>
                <p:nvPr/>
              </p:nvSpPr>
              <p:spPr>
                <a:xfrm>
                  <a:off x="10308486" y="2226603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7" y="15220"/>
                        <a:pt x="0" y="11813"/>
                        <a:pt x="0" y="7610"/>
                      </a:cubicBezTo>
                      <a:cubicBezTo>
                        <a:pt x="0" y="3407"/>
                        <a:pt x="3407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0" name="Freihandform 589">
                  <a:extLst>
                    <a:ext uri="{FF2B5EF4-FFF2-40B4-BE49-F238E27FC236}">
                      <a16:creationId xmlns:a16="http://schemas.microsoft.com/office/drawing/2014/main" id="{0859BCA0-942C-7B5B-57E0-06AC5254DC75}"/>
                    </a:ext>
                  </a:extLst>
                </p:cNvPr>
                <p:cNvSpPr/>
                <p:nvPr/>
              </p:nvSpPr>
              <p:spPr>
                <a:xfrm>
                  <a:off x="10337665" y="2226603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7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591" name="Grafik 5">
            <a:extLst>
              <a:ext uri="{FF2B5EF4-FFF2-40B4-BE49-F238E27FC236}">
                <a16:creationId xmlns:a16="http://schemas.microsoft.com/office/drawing/2014/main" id="{29AA2E2E-8BC1-0847-B8EF-33ADCBA15E8F}"/>
              </a:ext>
            </a:extLst>
          </p:cNvPr>
          <p:cNvGrpSpPr/>
          <p:nvPr/>
        </p:nvGrpSpPr>
        <p:grpSpPr>
          <a:xfrm>
            <a:off x="8367883" y="2193307"/>
            <a:ext cx="500783" cy="285568"/>
            <a:chOff x="8367883" y="2193307"/>
            <a:chExt cx="500783" cy="285568"/>
          </a:xfrm>
        </p:grpSpPr>
        <p:sp>
          <p:nvSpPr>
            <p:cNvPr id="592" name="Freihandform 591">
              <a:extLst>
                <a:ext uri="{FF2B5EF4-FFF2-40B4-BE49-F238E27FC236}">
                  <a16:creationId xmlns:a16="http://schemas.microsoft.com/office/drawing/2014/main" id="{5E3E63CC-A5CB-B90E-C916-F9C6D6955392}"/>
                </a:ext>
              </a:extLst>
            </p:cNvPr>
            <p:cNvSpPr/>
            <p:nvPr/>
          </p:nvSpPr>
          <p:spPr>
            <a:xfrm>
              <a:off x="8367883" y="2448867"/>
              <a:ext cx="500783" cy="30009"/>
            </a:xfrm>
            <a:custGeom>
              <a:avLst/>
              <a:gdLst>
                <a:gd name="connsiteX0" fmla="*/ 451865 w 500783"/>
                <a:gd name="connsiteY0" fmla="*/ 0 h 30009"/>
                <a:gd name="connsiteX1" fmla="*/ 48934 w 500783"/>
                <a:gd name="connsiteY1" fmla="*/ 0 h 30009"/>
                <a:gd name="connsiteX2" fmla="*/ 21424 w 500783"/>
                <a:gd name="connsiteY2" fmla="*/ 7104 h 30009"/>
                <a:gd name="connsiteX3" fmla="*/ 3606 w 500783"/>
                <a:gd name="connsiteY3" fmla="*/ 16951 h 30009"/>
                <a:gd name="connsiteX4" fmla="*/ 6980 w 500783"/>
                <a:gd name="connsiteY4" fmla="*/ 30009 h 30009"/>
                <a:gd name="connsiteX5" fmla="*/ 493808 w 500783"/>
                <a:gd name="connsiteY5" fmla="*/ 30009 h 30009"/>
                <a:gd name="connsiteX6" fmla="*/ 497181 w 500783"/>
                <a:gd name="connsiteY6" fmla="*/ 16951 h 30009"/>
                <a:gd name="connsiteX7" fmla="*/ 479363 w 500783"/>
                <a:gd name="connsiteY7" fmla="*/ 7104 h 30009"/>
                <a:gd name="connsiteX8" fmla="*/ 451853 w 500783"/>
                <a:gd name="connsiteY8" fmla="*/ 0 h 3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783" h="30009">
                  <a:moveTo>
                    <a:pt x="451865" y="0"/>
                  </a:moveTo>
                  <a:lnTo>
                    <a:pt x="48934" y="0"/>
                  </a:lnTo>
                  <a:cubicBezTo>
                    <a:pt x="39318" y="0"/>
                    <a:pt x="29852" y="2440"/>
                    <a:pt x="21424" y="7104"/>
                  </a:cubicBezTo>
                  <a:lnTo>
                    <a:pt x="3606" y="16951"/>
                  </a:lnTo>
                  <a:cubicBezTo>
                    <a:pt x="-2687" y="20428"/>
                    <a:pt x="-223" y="30009"/>
                    <a:pt x="6980" y="30009"/>
                  </a:cubicBezTo>
                  <a:lnTo>
                    <a:pt x="493808" y="30009"/>
                  </a:lnTo>
                  <a:cubicBezTo>
                    <a:pt x="500998" y="30009"/>
                    <a:pt x="503474" y="20428"/>
                    <a:pt x="497181" y="16951"/>
                  </a:cubicBezTo>
                  <a:lnTo>
                    <a:pt x="479363" y="7104"/>
                  </a:lnTo>
                  <a:cubicBezTo>
                    <a:pt x="470947" y="2452"/>
                    <a:pt x="461482" y="0"/>
                    <a:pt x="451853" y="0"/>
                  </a:cubicBezTo>
                  <a:close/>
                </a:path>
              </a:pathLst>
            </a:custGeom>
            <a:solidFill>
              <a:srgbClr val="9BBA4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93" name="Grafik 5">
              <a:extLst>
                <a:ext uri="{FF2B5EF4-FFF2-40B4-BE49-F238E27FC236}">
                  <a16:creationId xmlns:a16="http://schemas.microsoft.com/office/drawing/2014/main" id="{C1404513-E775-5F68-2326-D33999565722}"/>
                </a:ext>
              </a:extLst>
            </p:cNvPr>
            <p:cNvGrpSpPr/>
            <p:nvPr/>
          </p:nvGrpSpPr>
          <p:grpSpPr>
            <a:xfrm>
              <a:off x="8412154" y="2193307"/>
              <a:ext cx="412256" cy="274773"/>
              <a:chOff x="8412154" y="2193307"/>
              <a:chExt cx="412256" cy="274773"/>
            </a:xfrm>
          </p:grpSpPr>
          <p:sp>
            <p:nvSpPr>
              <p:cNvPr id="594" name="Freihandform 593">
                <a:extLst>
                  <a:ext uri="{FF2B5EF4-FFF2-40B4-BE49-F238E27FC236}">
                    <a16:creationId xmlns:a16="http://schemas.microsoft.com/office/drawing/2014/main" id="{2507B210-A4B3-5C2C-41D7-5F031E78AD62}"/>
                  </a:ext>
                </a:extLst>
              </p:cNvPr>
              <p:cNvSpPr/>
              <p:nvPr/>
            </p:nvSpPr>
            <p:spPr>
              <a:xfrm>
                <a:off x="8425158" y="2249913"/>
                <a:ext cx="386249" cy="218167"/>
              </a:xfrm>
              <a:custGeom>
                <a:avLst/>
                <a:gdLst>
                  <a:gd name="connsiteX0" fmla="*/ 0 w 386249"/>
                  <a:gd name="connsiteY0" fmla="*/ 0 h 218167"/>
                  <a:gd name="connsiteX1" fmla="*/ 386250 w 386249"/>
                  <a:gd name="connsiteY1" fmla="*/ 0 h 218167"/>
                  <a:gd name="connsiteX2" fmla="*/ 386250 w 386249"/>
                  <a:gd name="connsiteY2" fmla="*/ 218168 h 218167"/>
                  <a:gd name="connsiteX3" fmla="*/ 0 w 386249"/>
                  <a:gd name="connsiteY3" fmla="*/ 218168 h 218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249" h="218167">
                    <a:moveTo>
                      <a:pt x="0" y="0"/>
                    </a:moveTo>
                    <a:lnTo>
                      <a:pt x="386250" y="0"/>
                    </a:lnTo>
                    <a:lnTo>
                      <a:pt x="386250" y="218168"/>
                    </a:lnTo>
                    <a:lnTo>
                      <a:pt x="0" y="218168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5" name="Freihandform 594">
                <a:extLst>
                  <a:ext uri="{FF2B5EF4-FFF2-40B4-BE49-F238E27FC236}">
                    <a16:creationId xmlns:a16="http://schemas.microsoft.com/office/drawing/2014/main" id="{DE76223C-0DC7-90A3-9F36-927226B0D807}"/>
                  </a:ext>
                </a:extLst>
              </p:cNvPr>
              <p:cNvSpPr/>
              <p:nvPr/>
            </p:nvSpPr>
            <p:spPr>
              <a:xfrm>
                <a:off x="8412154" y="2193320"/>
                <a:ext cx="412256" cy="81798"/>
              </a:xfrm>
              <a:custGeom>
                <a:avLst/>
                <a:gdLst>
                  <a:gd name="connsiteX0" fmla="*/ 402413 w 412256"/>
                  <a:gd name="connsiteY0" fmla="*/ 0 h 81798"/>
                  <a:gd name="connsiteX1" fmla="*/ 412257 w 412256"/>
                  <a:gd name="connsiteY1" fmla="*/ 9847 h 81798"/>
                  <a:gd name="connsiteX2" fmla="*/ 412257 w 412256"/>
                  <a:gd name="connsiteY2" fmla="*/ 71952 h 81798"/>
                  <a:gd name="connsiteX3" fmla="*/ 402413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3" y="0"/>
                    </a:moveTo>
                    <a:cubicBezTo>
                      <a:pt x="407849" y="0"/>
                      <a:pt x="412257" y="4409"/>
                      <a:pt x="412257" y="9847"/>
                    </a:cubicBezTo>
                    <a:lnTo>
                      <a:pt x="412257" y="71952"/>
                    </a:lnTo>
                    <a:cubicBezTo>
                      <a:pt x="412257" y="77390"/>
                      <a:pt x="407849" y="81799"/>
                      <a:pt x="402413" y="81799"/>
                    </a:cubicBezTo>
                    <a:lnTo>
                      <a:pt x="9844" y="81799"/>
                    </a:lnTo>
                    <a:cubicBezTo>
                      <a:pt x="4408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8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6" name="Freihandform 595">
                <a:extLst>
                  <a:ext uri="{FF2B5EF4-FFF2-40B4-BE49-F238E27FC236}">
                    <a16:creationId xmlns:a16="http://schemas.microsoft.com/office/drawing/2014/main" id="{F949570C-462D-7BBF-209E-1D6A63C46741}"/>
                  </a:ext>
                </a:extLst>
              </p:cNvPr>
              <p:cNvSpPr/>
              <p:nvPr/>
            </p:nvSpPr>
            <p:spPr>
              <a:xfrm>
                <a:off x="8412154" y="2289795"/>
                <a:ext cx="412256" cy="81798"/>
              </a:xfrm>
              <a:custGeom>
                <a:avLst/>
                <a:gdLst>
                  <a:gd name="connsiteX0" fmla="*/ 402413 w 412256"/>
                  <a:gd name="connsiteY0" fmla="*/ 0 h 81798"/>
                  <a:gd name="connsiteX1" fmla="*/ 412257 w 412256"/>
                  <a:gd name="connsiteY1" fmla="*/ 9847 h 81798"/>
                  <a:gd name="connsiteX2" fmla="*/ 412257 w 412256"/>
                  <a:gd name="connsiteY2" fmla="*/ 71952 h 81798"/>
                  <a:gd name="connsiteX3" fmla="*/ 402413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3" y="0"/>
                    </a:moveTo>
                    <a:cubicBezTo>
                      <a:pt x="407849" y="0"/>
                      <a:pt x="412257" y="4409"/>
                      <a:pt x="412257" y="9847"/>
                    </a:cubicBezTo>
                    <a:lnTo>
                      <a:pt x="412257" y="71952"/>
                    </a:lnTo>
                    <a:cubicBezTo>
                      <a:pt x="412257" y="77390"/>
                      <a:pt x="407849" y="81799"/>
                      <a:pt x="402413" y="81799"/>
                    </a:cubicBezTo>
                    <a:lnTo>
                      <a:pt x="9844" y="81799"/>
                    </a:lnTo>
                    <a:cubicBezTo>
                      <a:pt x="4408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8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7" name="Freihandform 596">
                <a:extLst>
                  <a:ext uri="{FF2B5EF4-FFF2-40B4-BE49-F238E27FC236}">
                    <a16:creationId xmlns:a16="http://schemas.microsoft.com/office/drawing/2014/main" id="{E98F845B-07FF-D7A8-7F30-CE66D933B8D9}"/>
                  </a:ext>
                </a:extLst>
              </p:cNvPr>
              <p:cNvSpPr/>
              <p:nvPr/>
            </p:nvSpPr>
            <p:spPr>
              <a:xfrm>
                <a:off x="8412154" y="2386269"/>
                <a:ext cx="412256" cy="81798"/>
              </a:xfrm>
              <a:custGeom>
                <a:avLst/>
                <a:gdLst>
                  <a:gd name="connsiteX0" fmla="*/ 402413 w 412256"/>
                  <a:gd name="connsiteY0" fmla="*/ 0 h 81798"/>
                  <a:gd name="connsiteX1" fmla="*/ 412257 w 412256"/>
                  <a:gd name="connsiteY1" fmla="*/ 9847 h 81798"/>
                  <a:gd name="connsiteX2" fmla="*/ 412257 w 412256"/>
                  <a:gd name="connsiteY2" fmla="*/ 71952 h 81798"/>
                  <a:gd name="connsiteX3" fmla="*/ 402413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3" y="0"/>
                    </a:moveTo>
                    <a:cubicBezTo>
                      <a:pt x="407849" y="0"/>
                      <a:pt x="412257" y="4409"/>
                      <a:pt x="412257" y="9847"/>
                    </a:cubicBezTo>
                    <a:lnTo>
                      <a:pt x="412257" y="71952"/>
                    </a:lnTo>
                    <a:cubicBezTo>
                      <a:pt x="412257" y="77390"/>
                      <a:pt x="407849" y="81799"/>
                      <a:pt x="402413" y="81799"/>
                    </a:cubicBezTo>
                    <a:lnTo>
                      <a:pt x="9844" y="81799"/>
                    </a:lnTo>
                    <a:cubicBezTo>
                      <a:pt x="4408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8" y="0"/>
                      <a:pt x="9844" y="0"/>
                    </a:cubicBez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598" name="Grafik 5">
                <a:extLst>
                  <a:ext uri="{FF2B5EF4-FFF2-40B4-BE49-F238E27FC236}">
                    <a16:creationId xmlns:a16="http://schemas.microsoft.com/office/drawing/2014/main" id="{F66E8780-A81C-62CB-8AF3-AE77487C8B1D}"/>
                  </a:ext>
                </a:extLst>
              </p:cNvPr>
              <p:cNvGrpSpPr/>
              <p:nvPr/>
            </p:nvGrpSpPr>
            <p:grpSpPr>
              <a:xfrm>
                <a:off x="8698407" y="2193307"/>
                <a:ext cx="126003" cy="274760"/>
                <a:chOff x="8698407" y="2193307"/>
                <a:chExt cx="126003" cy="274760"/>
              </a:xfrm>
              <a:solidFill>
                <a:srgbClr val="08665C"/>
              </a:solidFill>
            </p:grpSpPr>
            <p:sp>
              <p:nvSpPr>
                <p:cNvPr id="599" name="Freihandform 598">
                  <a:extLst>
                    <a:ext uri="{FF2B5EF4-FFF2-40B4-BE49-F238E27FC236}">
                      <a16:creationId xmlns:a16="http://schemas.microsoft.com/office/drawing/2014/main" id="{A361FAB8-A52D-1915-8A8E-879D9356B363}"/>
                    </a:ext>
                  </a:extLst>
                </p:cNvPr>
                <p:cNvSpPr/>
                <p:nvPr/>
              </p:nvSpPr>
              <p:spPr>
                <a:xfrm>
                  <a:off x="8698407" y="2193307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0" name="Freihandform 599">
                  <a:extLst>
                    <a:ext uri="{FF2B5EF4-FFF2-40B4-BE49-F238E27FC236}">
                      <a16:creationId xmlns:a16="http://schemas.microsoft.com/office/drawing/2014/main" id="{60D3664C-84FE-BD4E-332F-C646D6B94B56}"/>
                    </a:ext>
                  </a:extLst>
                </p:cNvPr>
                <p:cNvSpPr/>
                <p:nvPr/>
              </p:nvSpPr>
              <p:spPr>
                <a:xfrm>
                  <a:off x="8698407" y="2289782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1" name="Freihandform 600">
                  <a:extLst>
                    <a:ext uri="{FF2B5EF4-FFF2-40B4-BE49-F238E27FC236}">
                      <a16:creationId xmlns:a16="http://schemas.microsoft.com/office/drawing/2014/main" id="{6F81C410-2DBA-54A0-72CC-E8F2BD828A52}"/>
                    </a:ext>
                  </a:extLst>
                </p:cNvPr>
                <p:cNvSpPr/>
                <p:nvPr/>
              </p:nvSpPr>
              <p:spPr>
                <a:xfrm>
                  <a:off x="8698407" y="2386269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02" name="Grafik 5">
                <a:extLst>
                  <a:ext uri="{FF2B5EF4-FFF2-40B4-BE49-F238E27FC236}">
                    <a16:creationId xmlns:a16="http://schemas.microsoft.com/office/drawing/2014/main" id="{302E0EAC-F633-06EA-CB94-1CCB738B0687}"/>
                  </a:ext>
                </a:extLst>
              </p:cNvPr>
              <p:cNvGrpSpPr/>
              <p:nvPr/>
            </p:nvGrpSpPr>
            <p:grpSpPr>
              <a:xfrm>
                <a:off x="8429568" y="2419565"/>
                <a:ext cx="377441" cy="15219"/>
                <a:chOff x="8429568" y="2419565"/>
                <a:chExt cx="377441" cy="15219"/>
              </a:xfrm>
            </p:grpSpPr>
            <p:grpSp>
              <p:nvGrpSpPr>
                <p:cNvPr id="603" name="Grafik 5">
                  <a:extLst>
                    <a:ext uri="{FF2B5EF4-FFF2-40B4-BE49-F238E27FC236}">
                      <a16:creationId xmlns:a16="http://schemas.microsoft.com/office/drawing/2014/main" id="{4368E0FB-1BE0-9C77-1842-6C88B2A37EB7}"/>
                    </a:ext>
                  </a:extLst>
                </p:cNvPr>
                <p:cNvGrpSpPr/>
                <p:nvPr/>
              </p:nvGrpSpPr>
              <p:grpSpPr>
                <a:xfrm>
                  <a:off x="8429568" y="2420577"/>
                  <a:ext cx="99111" cy="13197"/>
                  <a:chOff x="8429568" y="2420577"/>
                  <a:chExt cx="99111" cy="13197"/>
                </a:xfrm>
                <a:solidFill>
                  <a:srgbClr val="FFFFFF"/>
                </a:solidFill>
              </p:grpSpPr>
              <p:sp>
                <p:nvSpPr>
                  <p:cNvPr id="604" name="Freihandform 603">
                    <a:extLst>
                      <a:ext uri="{FF2B5EF4-FFF2-40B4-BE49-F238E27FC236}">
                        <a16:creationId xmlns:a16="http://schemas.microsoft.com/office/drawing/2014/main" id="{B8EE46DE-DECB-ACEE-A811-2DB1B28F133D}"/>
                      </a:ext>
                    </a:extLst>
                  </p:cNvPr>
                  <p:cNvSpPr/>
                  <p:nvPr/>
                </p:nvSpPr>
                <p:spPr>
                  <a:xfrm>
                    <a:off x="8429568" y="2420577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5" name="Freihandform 604">
                    <a:extLst>
                      <a:ext uri="{FF2B5EF4-FFF2-40B4-BE49-F238E27FC236}">
                        <a16:creationId xmlns:a16="http://schemas.microsoft.com/office/drawing/2014/main" id="{47BB36CE-0CD4-1387-F2A2-546C73B872AA}"/>
                      </a:ext>
                    </a:extLst>
                  </p:cNvPr>
                  <p:cNvSpPr/>
                  <p:nvPr/>
                </p:nvSpPr>
                <p:spPr>
                  <a:xfrm>
                    <a:off x="8458204" y="2420577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6" name="Freihandform 605">
                    <a:extLst>
                      <a:ext uri="{FF2B5EF4-FFF2-40B4-BE49-F238E27FC236}">
                        <a16:creationId xmlns:a16="http://schemas.microsoft.com/office/drawing/2014/main" id="{2E55F29E-AA4D-3218-2272-8C95762B0F2E}"/>
                      </a:ext>
                    </a:extLst>
                  </p:cNvPr>
                  <p:cNvSpPr/>
                  <p:nvPr/>
                </p:nvSpPr>
                <p:spPr>
                  <a:xfrm>
                    <a:off x="8486852" y="2420577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7" name="Freihandform 606">
                    <a:extLst>
                      <a:ext uri="{FF2B5EF4-FFF2-40B4-BE49-F238E27FC236}">
                        <a16:creationId xmlns:a16="http://schemas.microsoft.com/office/drawing/2014/main" id="{1F771752-303E-C075-FFAC-EC00AC15912D}"/>
                      </a:ext>
                    </a:extLst>
                  </p:cNvPr>
                  <p:cNvSpPr/>
                  <p:nvPr/>
                </p:nvSpPr>
                <p:spPr>
                  <a:xfrm>
                    <a:off x="8515487" y="2420577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08" name="Freihandform 607">
                  <a:extLst>
                    <a:ext uri="{FF2B5EF4-FFF2-40B4-BE49-F238E27FC236}">
                      <a16:creationId xmlns:a16="http://schemas.microsoft.com/office/drawing/2014/main" id="{4F5D976E-314C-FA51-0223-091080543061}"/>
                    </a:ext>
                  </a:extLst>
                </p:cNvPr>
                <p:cNvSpPr/>
                <p:nvPr/>
              </p:nvSpPr>
              <p:spPr>
                <a:xfrm>
                  <a:off x="8762616" y="2419565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7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9" name="Freihandform 608">
                  <a:extLst>
                    <a:ext uri="{FF2B5EF4-FFF2-40B4-BE49-F238E27FC236}">
                      <a16:creationId xmlns:a16="http://schemas.microsoft.com/office/drawing/2014/main" id="{2472CDC7-8C67-AB77-8D7F-882943FCA8F1}"/>
                    </a:ext>
                  </a:extLst>
                </p:cNvPr>
                <p:cNvSpPr/>
                <p:nvPr/>
              </p:nvSpPr>
              <p:spPr>
                <a:xfrm>
                  <a:off x="8791795" y="2419565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10" name="Grafik 5">
                <a:extLst>
                  <a:ext uri="{FF2B5EF4-FFF2-40B4-BE49-F238E27FC236}">
                    <a16:creationId xmlns:a16="http://schemas.microsoft.com/office/drawing/2014/main" id="{D2E59A3B-9DB6-0368-9033-3AC4C06CD353}"/>
                  </a:ext>
                </a:extLst>
              </p:cNvPr>
              <p:cNvGrpSpPr/>
              <p:nvPr/>
            </p:nvGrpSpPr>
            <p:grpSpPr>
              <a:xfrm>
                <a:off x="8429568" y="2323091"/>
                <a:ext cx="377441" cy="15219"/>
                <a:chOff x="8429568" y="2323091"/>
                <a:chExt cx="377441" cy="15219"/>
              </a:xfrm>
            </p:grpSpPr>
            <p:grpSp>
              <p:nvGrpSpPr>
                <p:cNvPr id="611" name="Grafik 5">
                  <a:extLst>
                    <a:ext uri="{FF2B5EF4-FFF2-40B4-BE49-F238E27FC236}">
                      <a16:creationId xmlns:a16="http://schemas.microsoft.com/office/drawing/2014/main" id="{DCE3C089-29B6-52C6-F4A1-3038431A6704}"/>
                    </a:ext>
                  </a:extLst>
                </p:cNvPr>
                <p:cNvGrpSpPr/>
                <p:nvPr/>
              </p:nvGrpSpPr>
              <p:grpSpPr>
                <a:xfrm>
                  <a:off x="8429568" y="2324102"/>
                  <a:ext cx="99111" cy="13197"/>
                  <a:chOff x="8429568" y="2324102"/>
                  <a:chExt cx="99111" cy="13197"/>
                </a:xfrm>
                <a:solidFill>
                  <a:srgbClr val="FFFFFF"/>
                </a:solidFill>
              </p:grpSpPr>
              <p:sp>
                <p:nvSpPr>
                  <p:cNvPr id="612" name="Freihandform 611">
                    <a:extLst>
                      <a:ext uri="{FF2B5EF4-FFF2-40B4-BE49-F238E27FC236}">
                        <a16:creationId xmlns:a16="http://schemas.microsoft.com/office/drawing/2014/main" id="{7D0151BB-561E-C6FC-4D85-6EC61C987C70}"/>
                      </a:ext>
                    </a:extLst>
                  </p:cNvPr>
                  <p:cNvSpPr/>
                  <p:nvPr/>
                </p:nvSpPr>
                <p:spPr>
                  <a:xfrm>
                    <a:off x="8429568" y="2324102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3" name="Freihandform 612">
                    <a:extLst>
                      <a:ext uri="{FF2B5EF4-FFF2-40B4-BE49-F238E27FC236}">
                        <a16:creationId xmlns:a16="http://schemas.microsoft.com/office/drawing/2014/main" id="{D0B8E90E-5D08-90E3-0284-7AAD3052EF90}"/>
                      </a:ext>
                    </a:extLst>
                  </p:cNvPr>
                  <p:cNvSpPr/>
                  <p:nvPr/>
                </p:nvSpPr>
                <p:spPr>
                  <a:xfrm>
                    <a:off x="8458204" y="2324102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Freihandform 613">
                    <a:extLst>
                      <a:ext uri="{FF2B5EF4-FFF2-40B4-BE49-F238E27FC236}">
                        <a16:creationId xmlns:a16="http://schemas.microsoft.com/office/drawing/2014/main" id="{5C8DBA92-CF0F-13FB-28F6-59A06754D2BC}"/>
                      </a:ext>
                    </a:extLst>
                  </p:cNvPr>
                  <p:cNvSpPr/>
                  <p:nvPr/>
                </p:nvSpPr>
                <p:spPr>
                  <a:xfrm>
                    <a:off x="8486852" y="2324102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5" name="Freihandform 614">
                    <a:extLst>
                      <a:ext uri="{FF2B5EF4-FFF2-40B4-BE49-F238E27FC236}">
                        <a16:creationId xmlns:a16="http://schemas.microsoft.com/office/drawing/2014/main" id="{1EE5F1AC-E3C5-57FF-085B-81C606F1F441}"/>
                      </a:ext>
                    </a:extLst>
                  </p:cNvPr>
                  <p:cNvSpPr/>
                  <p:nvPr/>
                </p:nvSpPr>
                <p:spPr>
                  <a:xfrm>
                    <a:off x="8515487" y="2324102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16" name="Freihandform 615">
                  <a:extLst>
                    <a:ext uri="{FF2B5EF4-FFF2-40B4-BE49-F238E27FC236}">
                      <a16:creationId xmlns:a16="http://schemas.microsoft.com/office/drawing/2014/main" id="{A77621A3-1A7D-39F3-046F-004E1B1DFEC2}"/>
                    </a:ext>
                  </a:extLst>
                </p:cNvPr>
                <p:cNvSpPr/>
                <p:nvPr/>
              </p:nvSpPr>
              <p:spPr>
                <a:xfrm>
                  <a:off x="8762616" y="2323091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19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19"/>
                        <a:pt x="7607" y="15219"/>
                      </a:cubicBezTo>
                      <a:cubicBezTo>
                        <a:pt x="3406" y="15219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7" name="Freihandform 616">
                  <a:extLst>
                    <a:ext uri="{FF2B5EF4-FFF2-40B4-BE49-F238E27FC236}">
                      <a16:creationId xmlns:a16="http://schemas.microsoft.com/office/drawing/2014/main" id="{D0F68B8E-6C97-FE65-8B37-62D4CF24F806}"/>
                    </a:ext>
                  </a:extLst>
                </p:cNvPr>
                <p:cNvSpPr/>
                <p:nvPr/>
              </p:nvSpPr>
              <p:spPr>
                <a:xfrm>
                  <a:off x="8791795" y="2323091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19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2"/>
                        <a:pt x="11809" y="15219"/>
                        <a:pt x="7608" y="15219"/>
                      </a:cubicBezTo>
                      <a:cubicBezTo>
                        <a:pt x="3406" y="15219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18" name="Grafik 5">
                <a:extLst>
                  <a:ext uri="{FF2B5EF4-FFF2-40B4-BE49-F238E27FC236}">
                    <a16:creationId xmlns:a16="http://schemas.microsoft.com/office/drawing/2014/main" id="{8C5D1F11-231A-B635-527F-9FA9AB39ECBA}"/>
                  </a:ext>
                </a:extLst>
              </p:cNvPr>
              <p:cNvGrpSpPr/>
              <p:nvPr/>
            </p:nvGrpSpPr>
            <p:grpSpPr>
              <a:xfrm>
                <a:off x="8429568" y="2226603"/>
                <a:ext cx="377441" cy="15219"/>
                <a:chOff x="8429568" y="2226603"/>
                <a:chExt cx="377441" cy="15219"/>
              </a:xfrm>
            </p:grpSpPr>
            <p:grpSp>
              <p:nvGrpSpPr>
                <p:cNvPr id="619" name="Grafik 5">
                  <a:extLst>
                    <a:ext uri="{FF2B5EF4-FFF2-40B4-BE49-F238E27FC236}">
                      <a16:creationId xmlns:a16="http://schemas.microsoft.com/office/drawing/2014/main" id="{DC738D02-84AE-E2A6-E393-1A89E6D6307F}"/>
                    </a:ext>
                  </a:extLst>
                </p:cNvPr>
                <p:cNvGrpSpPr/>
                <p:nvPr/>
              </p:nvGrpSpPr>
              <p:grpSpPr>
                <a:xfrm>
                  <a:off x="8429568" y="2227614"/>
                  <a:ext cx="99111" cy="13197"/>
                  <a:chOff x="8429568" y="2227614"/>
                  <a:chExt cx="99111" cy="13197"/>
                </a:xfrm>
                <a:solidFill>
                  <a:srgbClr val="FFFFFF"/>
                </a:solidFill>
              </p:grpSpPr>
              <p:sp>
                <p:nvSpPr>
                  <p:cNvPr id="620" name="Freihandform 619">
                    <a:extLst>
                      <a:ext uri="{FF2B5EF4-FFF2-40B4-BE49-F238E27FC236}">
                        <a16:creationId xmlns:a16="http://schemas.microsoft.com/office/drawing/2014/main" id="{10ED52CF-0838-05DB-595B-1AFF002CD8B9}"/>
                      </a:ext>
                    </a:extLst>
                  </p:cNvPr>
                  <p:cNvSpPr/>
                  <p:nvPr/>
                </p:nvSpPr>
                <p:spPr>
                  <a:xfrm>
                    <a:off x="8429568" y="222761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1" name="Freihandform 620">
                    <a:extLst>
                      <a:ext uri="{FF2B5EF4-FFF2-40B4-BE49-F238E27FC236}">
                        <a16:creationId xmlns:a16="http://schemas.microsoft.com/office/drawing/2014/main" id="{4244ABA2-7A02-0741-5D9C-EBD533847A1A}"/>
                      </a:ext>
                    </a:extLst>
                  </p:cNvPr>
                  <p:cNvSpPr/>
                  <p:nvPr/>
                </p:nvSpPr>
                <p:spPr>
                  <a:xfrm>
                    <a:off x="8458204" y="222761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2" name="Freihandform 621">
                    <a:extLst>
                      <a:ext uri="{FF2B5EF4-FFF2-40B4-BE49-F238E27FC236}">
                        <a16:creationId xmlns:a16="http://schemas.microsoft.com/office/drawing/2014/main" id="{194084D8-876C-491A-2EE0-D63ED036D70E}"/>
                      </a:ext>
                    </a:extLst>
                  </p:cNvPr>
                  <p:cNvSpPr/>
                  <p:nvPr/>
                </p:nvSpPr>
                <p:spPr>
                  <a:xfrm>
                    <a:off x="8486852" y="222761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Freihandform 622">
                    <a:extLst>
                      <a:ext uri="{FF2B5EF4-FFF2-40B4-BE49-F238E27FC236}">
                        <a16:creationId xmlns:a16="http://schemas.microsoft.com/office/drawing/2014/main" id="{846AD90A-BEAF-5360-6953-AEF152B06D1C}"/>
                      </a:ext>
                    </a:extLst>
                  </p:cNvPr>
                  <p:cNvSpPr/>
                  <p:nvPr/>
                </p:nvSpPr>
                <p:spPr>
                  <a:xfrm>
                    <a:off x="8515487" y="2227614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24" name="Freihandform 623">
                  <a:extLst>
                    <a:ext uri="{FF2B5EF4-FFF2-40B4-BE49-F238E27FC236}">
                      <a16:creationId xmlns:a16="http://schemas.microsoft.com/office/drawing/2014/main" id="{D805F320-4823-213E-99ED-B731DE06A142}"/>
                    </a:ext>
                  </a:extLst>
                </p:cNvPr>
                <p:cNvSpPr/>
                <p:nvPr/>
              </p:nvSpPr>
              <p:spPr>
                <a:xfrm>
                  <a:off x="8762616" y="2226603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7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25" name="Freihandform 624">
                  <a:extLst>
                    <a:ext uri="{FF2B5EF4-FFF2-40B4-BE49-F238E27FC236}">
                      <a16:creationId xmlns:a16="http://schemas.microsoft.com/office/drawing/2014/main" id="{B1AA4FE5-D681-AEAB-0B79-1B57E6640625}"/>
                    </a:ext>
                  </a:extLst>
                </p:cNvPr>
                <p:cNvSpPr/>
                <p:nvPr/>
              </p:nvSpPr>
              <p:spPr>
                <a:xfrm>
                  <a:off x="8791795" y="2226603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0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6" y="15220"/>
                        <a:pt x="0" y="11813"/>
                        <a:pt x="0" y="7610"/>
                      </a:cubicBezTo>
                      <a:cubicBezTo>
                        <a:pt x="0" y="3407"/>
                        <a:pt x="3406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626" name="Grafik 5">
            <a:extLst>
              <a:ext uri="{FF2B5EF4-FFF2-40B4-BE49-F238E27FC236}">
                <a16:creationId xmlns:a16="http://schemas.microsoft.com/office/drawing/2014/main" id="{081AF120-5ED2-37CD-A6A8-88EBBA3E5876}"/>
              </a:ext>
            </a:extLst>
          </p:cNvPr>
          <p:cNvGrpSpPr/>
          <p:nvPr/>
        </p:nvGrpSpPr>
        <p:grpSpPr>
          <a:xfrm>
            <a:off x="9913719" y="1514849"/>
            <a:ext cx="500867" cy="391650"/>
            <a:chOff x="9913719" y="1514849"/>
            <a:chExt cx="500867" cy="391650"/>
          </a:xfrm>
        </p:grpSpPr>
        <p:sp>
          <p:nvSpPr>
            <p:cNvPr id="627" name="Freihandform 626">
              <a:extLst>
                <a:ext uri="{FF2B5EF4-FFF2-40B4-BE49-F238E27FC236}">
                  <a16:creationId xmlns:a16="http://schemas.microsoft.com/office/drawing/2014/main" id="{7F427911-FE28-5F72-398C-6083B2F5A92D}"/>
                </a:ext>
              </a:extLst>
            </p:cNvPr>
            <p:cNvSpPr/>
            <p:nvPr/>
          </p:nvSpPr>
          <p:spPr>
            <a:xfrm>
              <a:off x="9932257" y="1878702"/>
              <a:ext cx="463803" cy="27797"/>
            </a:xfrm>
            <a:custGeom>
              <a:avLst/>
              <a:gdLst>
                <a:gd name="connsiteX0" fmla="*/ 418487 w 463803"/>
                <a:gd name="connsiteY0" fmla="*/ 0 h 27797"/>
                <a:gd name="connsiteX1" fmla="*/ 45304 w 463803"/>
                <a:gd name="connsiteY1" fmla="*/ 0 h 27797"/>
                <a:gd name="connsiteX2" fmla="*/ 19828 w 463803"/>
                <a:gd name="connsiteY2" fmla="*/ 6573 h 27797"/>
                <a:gd name="connsiteX3" fmla="*/ 3336 w 463803"/>
                <a:gd name="connsiteY3" fmla="*/ 15700 h 27797"/>
                <a:gd name="connsiteX4" fmla="*/ 6458 w 463803"/>
                <a:gd name="connsiteY4" fmla="*/ 27797 h 27797"/>
                <a:gd name="connsiteX5" fmla="*/ 457346 w 463803"/>
                <a:gd name="connsiteY5" fmla="*/ 27797 h 27797"/>
                <a:gd name="connsiteX6" fmla="*/ 460467 w 463803"/>
                <a:gd name="connsiteY6" fmla="*/ 15700 h 27797"/>
                <a:gd name="connsiteX7" fmla="*/ 443976 w 463803"/>
                <a:gd name="connsiteY7" fmla="*/ 6573 h 27797"/>
                <a:gd name="connsiteX8" fmla="*/ 418500 w 463803"/>
                <a:gd name="connsiteY8" fmla="*/ 0 h 2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3803" h="27797">
                  <a:moveTo>
                    <a:pt x="418487" y="0"/>
                  </a:moveTo>
                  <a:lnTo>
                    <a:pt x="45304" y="0"/>
                  </a:lnTo>
                  <a:cubicBezTo>
                    <a:pt x="36395" y="0"/>
                    <a:pt x="27625" y="2263"/>
                    <a:pt x="19828" y="6573"/>
                  </a:cubicBezTo>
                  <a:lnTo>
                    <a:pt x="3336" y="15700"/>
                  </a:lnTo>
                  <a:cubicBezTo>
                    <a:pt x="-2489" y="18923"/>
                    <a:pt x="-202" y="27797"/>
                    <a:pt x="6458" y="27797"/>
                  </a:cubicBezTo>
                  <a:lnTo>
                    <a:pt x="457346" y="27797"/>
                  </a:lnTo>
                  <a:cubicBezTo>
                    <a:pt x="464006" y="27797"/>
                    <a:pt x="466293" y="18923"/>
                    <a:pt x="460467" y="15700"/>
                  </a:cubicBezTo>
                  <a:lnTo>
                    <a:pt x="443976" y="6573"/>
                  </a:lnTo>
                  <a:cubicBezTo>
                    <a:pt x="436179" y="2263"/>
                    <a:pt x="427409" y="0"/>
                    <a:pt x="418500" y="0"/>
                  </a:cubicBezTo>
                  <a:close/>
                </a:path>
              </a:pathLst>
            </a:custGeom>
            <a:solidFill>
              <a:srgbClr val="9BBA4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28" name="Grafik 5">
              <a:extLst>
                <a:ext uri="{FF2B5EF4-FFF2-40B4-BE49-F238E27FC236}">
                  <a16:creationId xmlns:a16="http://schemas.microsoft.com/office/drawing/2014/main" id="{0C37C4D2-C7E8-F442-9458-7DCD46D714CF}"/>
                </a:ext>
              </a:extLst>
            </p:cNvPr>
            <p:cNvGrpSpPr/>
            <p:nvPr/>
          </p:nvGrpSpPr>
          <p:grpSpPr>
            <a:xfrm>
              <a:off x="9913719" y="1514849"/>
              <a:ext cx="500867" cy="380855"/>
              <a:chOff x="9913719" y="1514849"/>
              <a:chExt cx="500867" cy="380855"/>
            </a:xfrm>
          </p:grpSpPr>
          <p:grpSp>
            <p:nvGrpSpPr>
              <p:cNvPr id="629" name="Grafik 5">
                <a:extLst>
                  <a:ext uri="{FF2B5EF4-FFF2-40B4-BE49-F238E27FC236}">
                    <a16:creationId xmlns:a16="http://schemas.microsoft.com/office/drawing/2014/main" id="{429B5275-A6C3-426B-129C-1F86AD1ABCE3}"/>
                  </a:ext>
                </a:extLst>
              </p:cNvPr>
              <p:cNvGrpSpPr/>
              <p:nvPr/>
            </p:nvGrpSpPr>
            <p:grpSpPr>
              <a:xfrm>
                <a:off x="9913719" y="1514849"/>
                <a:ext cx="500867" cy="380855"/>
                <a:chOff x="9913719" y="1514849"/>
                <a:chExt cx="500867" cy="380855"/>
              </a:xfrm>
            </p:grpSpPr>
            <p:sp>
              <p:nvSpPr>
                <p:cNvPr id="630" name="Freihandform 629">
                  <a:extLst>
                    <a:ext uri="{FF2B5EF4-FFF2-40B4-BE49-F238E27FC236}">
                      <a16:creationId xmlns:a16="http://schemas.microsoft.com/office/drawing/2014/main" id="{6D5A9142-8DC5-C643-1E9E-F2C03402A354}"/>
                    </a:ext>
                  </a:extLst>
                </p:cNvPr>
                <p:cNvSpPr/>
                <p:nvPr/>
              </p:nvSpPr>
              <p:spPr>
                <a:xfrm>
                  <a:off x="10129142" y="1792897"/>
                  <a:ext cx="70021" cy="99622"/>
                </a:xfrm>
                <a:custGeom>
                  <a:avLst/>
                  <a:gdLst>
                    <a:gd name="connsiteX0" fmla="*/ 0 w 70021"/>
                    <a:gd name="connsiteY0" fmla="*/ 0 h 99622"/>
                    <a:gd name="connsiteX1" fmla="*/ 70022 w 70021"/>
                    <a:gd name="connsiteY1" fmla="*/ 0 h 99622"/>
                    <a:gd name="connsiteX2" fmla="*/ 70022 w 70021"/>
                    <a:gd name="connsiteY2" fmla="*/ 99622 h 99622"/>
                    <a:gd name="connsiteX3" fmla="*/ 0 w 70021"/>
                    <a:gd name="connsiteY3" fmla="*/ 99622 h 996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21" h="99622">
                      <a:moveTo>
                        <a:pt x="0" y="0"/>
                      </a:moveTo>
                      <a:lnTo>
                        <a:pt x="70022" y="0"/>
                      </a:lnTo>
                      <a:lnTo>
                        <a:pt x="70022" y="99622"/>
                      </a:lnTo>
                      <a:lnTo>
                        <a:pt x="0" y="99622"/>
                      </a:ln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1" name="Freihandform 630">
                  <a:extLst>
                    <a:ext uri="{FF2B5EF4-FFF2-40B4-BE49-F238E27FC236}">
                      <a16:creationId xmlns:a16="http://schemas.microsoft.com/office/drawing/2014/main" id="{11432AEF-6DB2-31B3-E565-3584530AEE23}"/>
                    </a:ext>
                  </a:extLst>
                </p:cNvPr>
                <p:cNvSpPr/>
                <p:nvPr/>
              </p:nvSpPr>
              <p:spPr>
                <a:xfrm>
                  <a:off x="10090739" y="1884896"/>
                  <a:ext cx="146854" cy="10807"/>
                </a:xfrm>
                <a:custGeom>
                  <a:avLst/>
                  <a:gdLst>
                    <a:gd name="connsiteX0" fmla="*/ 4676 w 146854"/>
                    <a:gd name="connsiteY0" fmla="*/ 0 h 10807"/>
                    <a:gd name="connsiteX1" fmla="*/ 142166 w 146854"/>
                    <a:gd name="connsiteY1" fmla="*/ 0 h 10807"/>
                    <a:gd name="connsiteX2" fmla="*/ 146854 w 146854"/>
                    <a:gd name="connsiteY2" fmla="*/ 4690 h 10807"/>
                    <a:gd name="connsiteX3" fmla="*/ 146854 w 146854"/>
                    <a:gd name="connsiteY3" fmla="*/ 10808 h 10807"/>
                    <a:gd name="connsiteX4" fmla="*/ 0 w 146854"/>
                    <a:gd name="connsiteY4" fmla="*/ 10808 h 10807"/>
                    <a:gd name="connsiteX5" fmla="*/ 0 w 146854"/>
                    <a:gd name="connsiteY5" fmla="*/ 4690 h 10807"/>
                    <a:gd name="connsiteX6" fmla="*/ 4688 w 146854"/>
                    <a:gd name="connsiteY6" fmla="*/ 0 h 108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6854" h="10807">
                      <a:moveTo>
                        <a:pt x="4676" y="0"/>
                      </a:moveTo>
                      <a:lnTo>
                        <a:pt x="142166" y="0"/>
                      </a:lnTo>
                      <a:cubicBezTo>
                        <a:pt x="144756" y="0"/>
                        <a:pt x="146854" y="2098"/>
                        <a:pt x="146854" y="4690"/>
                      </a:cubicBezTo>
                      <a:lnTo>
                        <a:pt x="146854" y="10808"/>
                      </a:lnTo>
                      <a:lnTo>
                        <a:pt x="0" y="10808"/>
                      </a:lnTo>
                      <a:lnTo>
                        <a:pt x="0" y="4690"/>
                      </a:lnTo>
                      <a:cubicBezTo>
                        <a:pt x="0" y="2098"/>
                        <a:pt x="2097" y="0"/>
                        <a:pt x="4688" y="0"/>
                      </a:cubicBezTo>
                      <a:close/>
                    </a:path>
                  </a:pathLst>
                </a:custGeom>
                <a:solidFill>
                  <a:srgbClr val="3B9B9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2" name="Freihandform 631">
                  <a:extLst>
                    <a:ext uri="{FF2B5EF4-FFF2-40B4-BE49-F238E27FC236}">
                      <a16:creationId xmlns:a16="http://schemas.microsoft.com/office/drawing/2014/main" id="{8758992F-EB7C-9973-B542-0E1E1E8D0502}"/>
                    </a:ext>
                  </a:extLst>
                </p:cNvPr>
                <p:cNvSpPr/>
                <p:nvPr/>
              </p:nvSpPr>
              <p:spPr>
                <a:xfrm>
                  <a:off x="9913719" y="1514849"/>
                  <a:ext cx="500867" cy="285884"/>
                </a:xfrm>
                <a:custGeom>
                  <a:avLst/>
                  <a:gdLst>
                    <a:gd name="connsiteX0" fmla="*/ 494005 w 500867"/>
                    <a:gd name="connsiteY0" fmla="*/ 0 h 285884"/>
                    <a:gd name="connsiteX1" fmla="*/ 500868 w 500867"/>
                    <a:gd name="connsiteY1" fmla="*/ 6864 h 285884"/>
                    <a:gd name="connsiteX2" fmla="*/ 500868 w 500867"/>
                    <a:gd name="connsiteY2" fmla="*/ 279021 h 285884"/>
                    <a:gd name="connsiteX3" fmla="*/ 494005 w 500867"/>
                    <a:gd name="connsiteY3" fmla="*/ 285885 h 285884"/>
                    <a:gd name="connsiteX4" fmla="*/ 6862 w 500867"/>
                    <a:gd name="connsiteY4" fmla="*/ 285885 h 285884"/>
                    <a:gd name="connsiteX5" fmla="*/ 0 w 500867"/>
                    <a:gd name="connsiteY5" fmla="*/ 279021 h 285884"/>
                    <a:gd name="connsiteX6" fmla="*/ 0 w 500867"/>
                    <a:gd name="connsiteY6" fmla="*/ 6864 h 285884"/>
                    <a:gd name="connsiteX7" fmla="*/ 6862 w 500867"/>
                    <a:gd name="connsiteY7" fmla="*/ 0 h 285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0867" h="285884">
                      <a:moveTo>
                        <a:pt x="494005" y="0"/>
                      </a:moveTo>
                      <a:cubicBezTo>
                        <a:pt x="497795" y="0"/>
                        <a:pt x="500868" y="3073"/>
                        <a:pt x="500868" y="6864"/>
                      </a:cubicBezTo>
                      <a:lnTo>
                        <a:pt x="500868" y="279021"/>
                      </a:lnTo>
                      <a:cubicBezTo>
                        <a:pt x="500868" y="282812"/>
                        <a:pt x="497795" y="285885"/>
                        <a:pt x="494005" y="285885"/>
                      </a:cubicBezTo>
                      <a:lnTo>
                        <a:pt x="6862" y="285885"/>
                      </a:lnTo>
                      <a:cubicBezTo>
                        <a:pt x="3072" y="285885"/>
                        <a:pt x="0" y="282812"/>
                        <a:pt x="0" y="279021"/>
                      </a:cubicBezTo>
                      <a:lnTo>
                        <a:pt x="0" y="6864"/>
                      </a:lnTo>
                      <a:cubicBezTo>
                        <a:pt x="0" y="3073"/>
                        <a:pt x="3072" y="0"/>
                        <a:pt x="6862" y="0"/>
                      </a:cubicBez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3" name="Freihandform 632">
                  <a:extLst>
                    <a:ext uri="{FF2B5EF4-FFF2-40B4-BE49-F238E27FC236}">
                      <a16:creationId xmlns:a16="http://schemas.microsoft.com/office/drawing/2014/main" id="{94AD5DD6-E2B7-0587-915F-D73312ACE12E}"/>
                    </a:ext>
                  </a:extLst>
                </p:cNvPr>
                <p:cNvSpPr/>
                <p:nvPr/>
              </p:nvSpPr>
              <p:spPr>
                <a:xfrm rot="5400000">
                  <a:off x="10040658" y="1411156"/>
                  <a:ext cx="246989" cy="477734"/>
                </a:xfrm>
                <a:custGeom>
                  <a:avLst/>
                  <a:gdLst>
                    <a:gd name="connsiteX0" fmla="*/ 0 w 246989"/>
                    <a:gd name="connsiteY0" fmla="*/ 0 h 477734"/>
                    <a:gd name="connsiteX1" fmla="*/ 246990 w 246989"/>
                    <a:gd name="connsiteY1" fmla="*/ 0 h 477734"/>
                    <a:gd name="connsiteX2" fmla="*/ 246990 w 246989"/>
                    <a:gd name="connsiteY2" fmla="*/ 477735 h 477734"/>
                    <a:gd name="connsiteX3" fmla="*/ 0 w 246989"/>
                    <a:gd name="connsiteY3" fmla="*/ 477735 h 477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6989" h="477734">
                      <a:moveTo>
                        <a:pt x="0" y="0"/>
                      </a:moveTo>
                      <a:lnTo>
                        <a:pt x="246990" y="0"/>
                      </a:lnTo>
                      <a:lnTo>
                        <a:pt x="246990" y="477735"/>
                      </a:lnTo>
                      <a:lnTo>
                        <a:pt x="0" y="477735"/>
                      </a:lnTo>
                      <a:close/>
                    </a:path>
                  </a:pathLst>
                </a:custGeom>
                <a:solidFill>
                  <a:srgbClr val="06534B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4" name="Freihandform 633">
                  <a:extLst>
                    <a:ext uri="{FF2B5EF4-FFF2-40B4-BE49-F238E27FC236}">
                      <a16:creationId xmlns:a16="http://schemas.microsoft.com/office/drawing/2014/main" id="{218EF60D-6586-E406-1C1A-034AAF66EB32}"/>
                    </a:ext>
                  </a:extLst>
                </p:cNvPr>
                <p:cNvSpPr/>
                <p:nvPr/>
              </p:nvSpPr>
              <p:spPr>
                <a:xfrm>
                  <a:off x="10129142" y="1800734"/>
                  <a:ext cx="70021" cy="10390"/>
                </a:xfrm>
                <a:custGeom>
                  <a:avLst/>
                  <a:gdLst>
                    <a:gd name="connsiteX0" fmla="*/ 0 w 70021"/>
                    <a:gd name="connsiteY0" fmla="*/ 0 h 10390"/>
                    <a:gd name="connsiteX1" fmla="*/ 70022 w 70021"/>
                    <a:gd name="connsiteY1" fmla="*/ 0 h 10390"/>
                    <a:gd name="connsiteX2" fmla="*/ 70022 w 70021"/>
                    <a:gd name="connsiteY2" fmla="*/ 10391 h 10390"/>
                    <a:gd name="connsiteX3" fmla="*/ 0 w 70021"/>
                    <a:gd name="connsiteY3" fmla="*/ 10391 h 10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21" h="10390">
                      <a:moveTo>
                        <a:pt x="0" y="0"/>
                      </a:moveTo>
                      <a:lnTo>
                        <a:pt x="70022" y="0"/>
                      </a:lnTo>
                      <a:lnTo>
                        <a:pt x="70022" y="10391"/>
                      </a:lnTo>
                      <a:lnTo>
                        <a:pt x="0" y="10391"/>
                      </a:lnTo>
                      <a:close/>
                    </a:path>
                  </a:pathLst>
                </a:custGeom>
                <a:solidFill>
                  <a:srgbClr val="3B9B9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635" name="Freihandform 634">
                <a:extLst>
                  <a:ext uri="{FF2B5EF4-FFF2-40B4-BE49-F238E27FC236}">
                    <a16:creationId xmlns:a16="http://schemas.microsoft.com/office/drawing/2014/main" id="{B4A6DDAB-A723-F8A3-5D12-6C5B33C9A83E}"/>
                  </a:ext>
                </a:extLst>
              </p:cNvPr>
              <p:cNvSpPr/>
              <p:nvPr/>
            </p:nvSpPr>
            <p:spPr>
              <a:xfrm>
                <a:off x="9925371" y="1526491"/>
                <a:ext cx="370073" cy="247064"/>
              </a:xfrm>
              <a:custGeom>
                <a:avLst/>
                <a:gdLst>
                  <a:gd name="connsiteX0" fmla="*/ 173152 w 370073"/>
                  <a:gd name="connsiteY0" fmla="*/ 247065 h 247064"/>
                  <a:gd name="connsiteX1" fmla="*/ 0 w 370073"/>
                  <a:gd name="connsiteY1" fmla="*/ 247065 h 247064"/>
                  <a:gd name="connsiteX2" fmla="*/ 0 w 370073"/>
                  <a:gd name="connsiteY2" fmla="*/ 0 h 247064"/>
                  <a:gd name="connsiteX3" fmla="*/ 370074 w 370073"/>
                  <a:gd name="connsiteY3" fmla="*/ 0 h 247064"/>
                  <a:gd name="connsiteX4" fmla="*/ 173152 w 370073"/>
                  <a:gd name="connsiteY4" fmla="*/ 247065 h 247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0073" h="247064">
                    <a:moveTo>
                      <a:pt x="173152" y="247065"/>
                    </a:moveTo>
                    <a:lnTo>
                      <a:pt x="0" y="247065"/>
                    </a:lnTo>
                    <a:lnTo>
                      <a:pt x="0" y="0"/>
                    </a:lnTo>
                    <a:lnTo>
                      <a:pt x="370074" y="0"/>
                    </a:lnTo>
                    <a:lnTo>
                      <a:pt x="173152" y="247065"/>
                    </a:lnTo>
                    <a:close/>
                  </a:path>
                </a:pathLst>
              </a:custGeom>
              <a:solidFill>
                <a:srgbClr val="0A827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36" name="Grafik 5">
            <a:extLst>
              <a:ext uri="{FF2B5EF4-FFF2-40B4-BE49-F238E27FC236}">
                <a16:creationId xmlns:a16="http://schemas.microsoft.com/office/drawing/2014/main" id="{32EDF0E5-C359-4E8E-40A2-A821EED423B3}"/>
              </a:ext>
            </a:extLst>
          </p:cNvPr>
          <p:cNvGrpSpPr/>
          <p:nvPr/>
        </p:nvGrpSpPr>
        <p:grpSpPr>
          <a:xfrm>
            <a:off x="7413600" y="4913523"/>
            <a:ext cx="500783" cy="285568"/>
            <a:chOff x="7413600" y="4913523"/>
            <a:chExt cx="500783" cy="285568"/>
          </a:xfrm>
        </p:grpSpPr>
        <p:sp>
          <p:nvSpPr>
            <p:cNvPr id="637" name="Freihandform 636">
              <a:extLst>
                <a:ext uri="{FF2B5EF4-FFF2-40B4-BE49-F238E27FC236}">
                  <a16:creationId xmlns:a16="http://schemas.microsoft.com/office/drawing/2014/main" id="{3806FFCA-3F60-F88D-E2A2-48D9CB4E6FEF}"/>
                </a:ext>
              </a:extLst>
            </p:cNvPr>
            <p:cNvSpPr/>
            <p:nvPr/>
          </p:nvSpPr>
          <p:spPr>
            <a:xfrm>
              <a:off x="7413600" y="5169083"/>
              <a:ext cx="500783" cy="30009"/>
            </a:xfrm>
            <a:custGeom>
              <a:avLst/>
              <a:gdLst>
                <a:gd name="connsiteX0" fmla="*/ 451865 w 500783"/>
                <a:gd name="connsiteY0" fmla="*/ 0 h 30009"/>
                <a:gd name="connsiteX1" fmla="*/ 48935 w 500783"/>
                <a:gd name="connsiteY1" fmla="*/ 0 h 30009"/>
                <a:gd name="connsiteX2" fmla="*/ 21424 w 500783"/>
                <a:gd name="connsiteY2" fmla="*/ 7104 h 30009"/>
                <a:gd name="connsiteX3" fmla="*/ 3606 w 500783"/>
                <a:gd name="connsiteY3" fmla="*/ 16951 h 30009"/>
                <a:gd name="connsiteX4" fmla="*/ 6980 w 500783"/>
                <a:gd name="connsiteY4" fmla="*/ 30010 h 30009"/>
                <a:gd name="connsiteX5" fmla="*/ 493808 w 500783"/>
                <a:gd name="connsiteY5" fmla="*/ 30010 h 30009"/>
                <a:gd name="connsiteX6" fmla="*/ 497181 w 500783"/>
                <a:gd name="connsiteY6" fmla="*/ 16951 h 30009"/>
                <a:gd name="connsiteX7" fmla="*/ 479363 w 500783"/>
                <a:gd name="connsiteY7" fmla="*/ 7104 h 30009"/>
                <a:gd name="connsiteX8" fmla="*/ 451853 w 500783"/>
                <a:gd name="connsiteY8" fmla="*/ 0 h 3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783" h="30009">
                  <a:moveTo>
                    <a:pt x="451865" y="0"/>
                  </a:moveTo>
                  <a:lnTo>
                    <a:pt x="48935" y="0"/>
                  </a:lnTo>
                  <a:cubicBezTo>
                    <a:pt x="39318" y="0"/>
                    <a:pt x="29853" y="2440"/>
                    <a:pt x="21424" y="7104"/>
                  </a:cubicBezTo>
                  <a:lnTo>
                    <a:pt x="3606" y="16951"/>
                  </a:lnTo>
                  <a:cubicBezTo>
                    <a:pt x="-2687" y="20428"/>
                    <a:pt x="-223" y="30010"/>
                    <a:pt x="6980" y="30010"/>
                  </a:cubicBezTo>
                  <a:lnTo>
                    <a:pt x="493808" y="30010"/>
                  </a:lnTo>
                  <a:cubicBezTo>
                    <a:pt x="500998" y="30010"/>
                    <a:pt x="503475" y="20428"/>
                    <a:pt x="497181" y="16951"/>
                  </a:cubicBezTo>
                  <a:lnTo>
                    <a:pt x="479363" y="7104"/>
                  </a:lnTo>
                  <a:cubicBezTo>
                    <a:pt x="470947" y="2452"/>
                    <a:pt x="461482" y="0"/>
                    <a:pt x="451853" y="0"/>
                  </a:cubicBezTo>
                  <a:close/>
                </a:path>
              </a:pathLst>
            </a:custGeom>
            <a:solidFill>
              <a:srgbClr val="0A827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38" name="Grafik 5">
              <a:extLst>
                <a:ext uri="{FF2B5EF4-FFF2-40B4-BE49-F238E27FC236}">
                  <a16:creationId xmlns:a16="http://schemas.microsoft.com/office/drawing/2014/main" id="{D464D7A2-60D5-E812-0544-3819FF8F8210}"/>
                </a:ext>
              </a:extLst>
            </p:cNvPr>
            <p:cNvGrpSpPr/>
            <p:nvPr/>
          </p:nvGrpSpPr>
          <p:grpSpPr>
            <a:xfrm>
              <a:off x="7457872" y="4913523"/>
              <a:ext cx="413457" cy="274773"/>
              <a:chOff x="7457872" y="4913523"/>
              <a:chExt cx="413457" cy="274773"/>
            </a:xfrm>
          </p:grpSpPr>
          <p:sp>
            <p:nvSpPr>
              <p:cNvPr id="639" name="Freihandform 638">
                <a:extLst>
                  <a:ext uri="{FF2B5EF4-FFF2-40B4-BE49-F238E27FC236}">
                    <a16:creationId xmlns:a16="http://schemas.microsoft.com/office/drawing/2014/main" id="{F02CACB6-8A2C-3EE9-9E3F-F071DC7D04DD}"/>
                  </a:ext>
                </a:extLst>
              </p:cNvPr>
              <p:cNvSpPr/>
              <p:nvPr/>
            </p:nvSpPr>
            <p:spPr>
              <a:xfrm>
                <a:off x="7470876" y="4970129"/>
                <a:ext cx="386249" cy="218167"/>
              </a:xfrm>
              <a:custGeom>
                <a:avLst/>
                <a:gdLst>
                  <a:gd name="connsiteX0" fmla="*/ 0 w 386249"/>
                  <a:gd name="connsiteY0" fmla="*/ 0 h 218167"/>
                  <a:gd name="connsiteX1" fmla="*/ 386250 w 386249"/>
                  <a:gd name="connsiteY1" fmla="*/ 0 h 218167"/>
                  <a:gd name="connsiteX2" fmla="*/ 386250 w 386249"/>
                  <a:gd name="connsiteY2" fmla="*/ 218168 h 218167"/>
                  <a:gd name="connsiteX3" fmla="*/ 0 w 386249"/>
                  <a:gd name="connsiteY3" fmla="*/ 218168 h 218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249" h="218167">
                    <a:moveTo>
                      <a:pt x="0" y="0"/>
                    </a:moveTo>
                    <a:lnTo>
                      <a:pt x="386250" y="0"/>
                    </a:lnTo>
                    <a:lnTo>
                      <a:pt x="386250" y="218168"/>
                    </a:lnTo>
                    <a:lnTo>
                      <a:pt x="0" y="218168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0" name="Freihandform 639">
                <a:extLst>
                  <a:ext uri="{FF2B5EF4-FFF2-40B4-BE49-F238E27FC236}">
                    <a16:creationId xmlns:a16="http://schemas.microsoft.com/office/drawing/2014/main" id="{0CA211B2-6296-6358-C8A0-ADA67FB78BE4}"/>
                  </a:ext>
                </a:extLst>
              </p:cNvPr>
              <p:cNvSpPr/>
              <p:nvPr/>
            </p:nvSpPr>
            <p:spPr>
              <a:xfrm>
                <a:off x="7457872" y="4913523"/>
                <a:ext cx="412256" cy="81798"/>
              </a:xfrm>
              <a:custGeom>
                <a:avLst/>
                <a:gdLst>
                  <a:gd name="connsiteX0" fmla="*/ 402412 w 412256"/>
                  <a:gd name="connsiteY0" fmla="*/ 0 h 81798"/>
                  <a:gd name="connsiteX1" fmla="*/ 412256 w 412256"/>
                  <a:gd name="connsiteY1" fmla="*/ 9847 h 81798"/>
                  <a:gd name="connsiteX2" fmla="*/ 412256 w 412256"/>
                  <a:gd name="connsiteY2" fmla="*/ 71952 h 81798"/>
                  <a:gd name="connsiteX3" fmla="*/ 402412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2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2" y="0"/>
                    </a:moveTo>
                    <a:cubicBezTo>
                      <a:pt x="407849" y="0"/>
                      <a:pt x="412256" y="4409"/>
                      <a:pt x="412256" y="9847"/>
                    </a:cubicBezTo>
                    <a:lnTo>
                      <a:pt x="412256" y="71952"/>
                    </a:lnTo>
                    <a:cubicBezTo>
                      <a:pt x="412256" y="77390"/>
                      <a:pt x="407849" y="81799"/>
                      <a:pt x="402412" y="81799"/>
                    </a:cubicBezTo>
                    <a:lnTo>
                      <a:pt x="9844" y="81799"/>
                    </a:lnTo>
                    <a:cubicBezTo>
                      <a:pt x="4407" y="81799"/>
                      <a:pt x="0" y="77390"/>
                      <a:pt x="0" y="71952"/>
                    </a:cubicBezTo>
                    <a:lnTo>
                      <a:pt x="0" y="9847"/>
                    </a:lnTo>
                    <a:cubicBezTo>
                      <a:pt x="0" y="4409"/>
                      <a:pt x="4407" y="0"/>
                      <a:pt x="9844" y="0"/>
                    </a:cubicBezTo>
                    <a:close/>
                  </a:path>
                </a:pathLst>
              </a:custGeom>
              <a:solidFill>
                <a:srgbClr val="B8DEDA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1" name="Freihandform 640">
                <a:extLst>
                  <a:ext uri="{FF2B5EF4-FFF2-40B4-BE49-F238E27FC236}">
                    <a16:creationId xmlns:a16="http://schemas.microsoft.com/office/drawing/2014/main" id="{FE65C791-819E-FE6E-1175-AC3DAF6BE5CD}"/>
                  </a:ext>
                </a:extLst>
              </p:cNvPr>
              <p:cNvSpPr/>
              <p:nvPr/>
            </p:nvSpPr>
            <p:spPr>
              <a:xfrm>
                <a:off x="7457872" y="5010011"/>
                <a:ext cx="412256" cy="81798"/>
              </a:xfrm>
              <a:custGeom>
                <a:avLst/>
                <a:gdLst>
                  <a:gd name="connsiteX0" fmla="*/ 402412 w 412256"/>
                  <a:gd name="connsiteY0" fmla="*/ 0 h 81798"/>
                  <a:gd name="connsiteX1" fmla="*/ 412256 w 412256"/>
                  <a:gd name="connsiteY1" fmla="*/ 9847 h 81798"/>
                  <a:gd name="connsiteX2" fmla="*/ 412256 w 412256"/>
                  <a:gd name="connsiteY2" fmla="*/ 71951 h 81798"/>
                  <a:gd name="connsiteX3" fmla="*/ 402412 w 412256"/>
                  <a:gd name="connsiteY3" fmla="*/ 81799 h 81798"/>
                  <a:gd name="connsiteX4" fmla="*/ 9844 w 412256"/>
                  <a:gd name="connsiteY4" fmla="*/ 81799 h 81798"/>
                  <a:gd name="connsiteX5" fmla="*/ 0 w 412256"/>
                  <a:gd name="connsiteY5" fmla="*/ 71951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2" y="0"/>
                    </a:moveTo>
                    <a:cubicBezTo>
                      <a:pt x="407849" y="0"/>
                      <a:pt x="412256" y="4409"/>
                      <a:pt x="412256" y="9847"/>
                    </a:cubicBezTo>
                    <a:lnTo>
                      <a:pt x="412256" y="71951"/>
                    </a:lnTo>
                    <a:cubicBezTo>
                      <a:pt x="412256" y="77390"/>
                      <a:pt x="407849" y="81799"/>
                      <a:pt x="402412" y="81799"/>
                    </a:cubicBezTo>
                    <a:lnTo>
                      <a:pt x="9844" y="81799"/>
                    </a:lnTo>
                    <a:cubicBezTo>
                      <a:pt x="4407" y="81799"/>
                      <a:pt x="0" y="77390"/>
                      <a:pt x="0" y="71951"/>
                    </a:cubicBezTo>
                    <a:lnTo>
                      <a:pt x="0" y="9847"/>
                    </a:lnTo>
                    <a:cubicBezTo>
                      <a:pt x="0" y="4409"/>
                      <a:pt x="4407" y="0"/>
                      <a:pt x="9844" y="0"/>
                    </a:cubicBezTo>
                    <a:close/>
                  </a:path>
                </a:pathLst>
              </a:custGeom>
              <a:solidFill>
                <a:srgbClr val="B8DEDA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2" name="Freihandform 641">
                <a:extLst>
                  <a:ext uri="{FF2B5EF4-FFF2-40B4-BE49-F238E27FC236}">
                    <a16:creationId xmlns:a16="http://schemas.microsoft.com/office/drawing/2014/main" id="{1D509F56-6DB2-01F5-B1F7-3A1B1709A2D9}"/>
                  </a:ext>
                </a:extLst>
              </p:cNvPr>
              <p:cNvSpPr/>
              <p:nvPr/>
            </p:nvSpPr>
            <p:spPr>
              <a:xfrm>
                <a:off x="7457872" y="5106486"/>
                <a:ext cx="412256" cy="81798"/>
              </a:xfrm>
              <a:custGeom>
                <a:avLst/>
                <a:gdLst>
                  <a:gd name="connsiteX0" fmla="*/ 402412 w 412256"/>
                  <a:gd name="connsiteY0" fmla="*/ 0 h 81798"/>
                  <a:gd name="connsiteX1" fmla="*/ 412256 w 412256"/>
                  <a:gd name="connsiteY1" fmla="*/ 9847 h 81798"/>
                  <a:gd name="connsiteX2" fmla="*/ 412256 w 412256"/>
                  <a:gd name="connsiteY2" fmla="*/ 71951 h 81798"/>
                  <a:gd name="connsiteX3" fmla="*/ 402412 w 412256"/>
                  <a:gd name="connsiteY3" fmla="*/ 81798 h 81798"/>
                  <a:gd name="connsiteX4" fmla="*/ 9844 w 412256"/>
                  <a:gd name="connsiteY4" fmla="*/ 81798 h 81798"/>
                  <a:gd name="connsiteX5" fmla="*/ 0 w 412256"/>
                  <a:gd name="connsiteY5" fmla="*/ 71951 h 81798"/>
                  <a:gd name="connsiteX6" fmla="*/ 0 w 412256"/>
                  <a:gd name="connsiteY6" fmla="*/ 9847 h 81798"/>
                  <a:gd name="connsiteX7" fmla="*/ 9844 w 412256"/>
                  <a:gd name="connsiteY7" fmla="*/ 0 h 81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256" h="81798">
                    <a:moveTo>
                      <a:pt x="402412" y="0"/>
                    </a:moveTo>
                    <a:cubicBezTo>
                      <a:pt x="407849" y="0"/>
                      <a:pt x="412256" y="4409"/>
                      <a:pt x="412256" y="9847"/>
                    </a:cubicBezTo>
                    <a:lnTo>
                      <a:pt x="412256" y="71951"/>
                    </a:lnTo>
                    <a:cubicBezTo>
                      <a:pt x="412256" y="77390"/>
                      <a:pt x="407849" y="81798"/>
                      <a:pt x="402412" y="81798"/>
                    </a:cubicBezTo>
                    <a:lnTo>
                      <a:pt x="9844" y="81798"/>
                    </a:lnTo>
                    <a:cubicBezTo>
                      <a:pt x="4407" y="81798"/>
                      <a:pt x="0" y="77389"/>
                      <a:pt x="0" y="71951"/>
                    </a:cubicBezTo>
                    <a:lnTo>
                      <a:pt x="0" y="9847"/>
                    </a:lnTo>
                    <a:cubicBezTo>
                      <a:pt x="0" y="4408"/>
                      <a:pt x="4407" y="0"/>
                      <a:pt x="9844" y="0"/>
                    </a:cubicBezTo>
                    <a:close/>
                  </a:path>
                </a:pathLst>
              </a:custGeom>
              <a:solidFill>
                <a:srgbClr val="B8DEDA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43" name="Grafik 5">
                <a:extLst>
                  <a:ext uri="{FF2B5EF4-FFF2-40B4-BE49-F238E27FC236}">
                    <a16:creationId xmlns:a16="http://schemas.microsoft.com/office/drawing/2014/main" id="{AB7D4B10-40DA-9FDA-5608-F9CC8A279552}"/>
                  </a:ext>
                </a:extLst>
              </p:cNvPr>
              <p:cNvGrpSpPr/>
              <p:nvPr/>
            </p:nvGrpSpPr>
            <p:grpSpPr>
              <a:xfrm>
                <a:off x="7745326" y="4913524"/>
                <a:ext cx="126003" cy="274748"/>
                <a:chOff x="7745326" y="4913524"/>
                <a:chExt cx="126003" cy="274748"/>
              </a:xfrm>
              <a:solidFill>
                <a:srgbClr val="6CB4AD"/>
              </a:solidFill>
            </p:grpSpPr>
            <p:sp>
              <p:nvSpPr>
                <p:cNvPr id="644" name="Freihandform 643">
                  <a:extLst>
                    <a:ext uri="{FF2B5EF4-FFF2-40B4-BE49-F238E27FC236}">
                      <a16:creationId xmlns:a16="http://schemas.microsoft.com/office/drawing/2014/main" id="{199974ED-F0C2-3AFD-D0B4-959BEF555A32}"/>
                    </a:ext>
                  </a:extLst>
                </p:cNvPr>
                <p:cNvSpPr/>
                <p:nvPr/>
              </p:nvSpPr>
              <p:spPr>
                <a:xfrm>
                  <a:off x="7745326" y="4913524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8 h 81798"/>
                    <a:gd name="connsiteX5" fmla="*/ 116159 w 126003"/>
                    <a:gd name="connsiteY5" fmla="*/ 81798 h 81798"/>
                    <a:gd name="connsiteX6" fmla="*/ 126004 w 126003"/>
                    <a:gd name="connsiteY6" fmla="*/ 71951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8"/>
                      </a:lnTo>
                      <a:lnTo>
                        <a:pt x="116159" y="81798"/>
                      </a:lnTo>
                      <a:cubicBezTo>
                        <a:pt x="121593" y="81798"/>
                        <a:pt x="126004" y="77387"/>
                        <a:pt x="126004" y="71951"/>
                      </a:cubicBez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5" name="Freihandform 644">
                  <a:extLst>
                    <a:ext uri="{FF2B5EF4-FFF2-40B4-BE49-F238E27FC236}">
                      <a16:creationId xmlns:a16="http://schemas.microsoft.com/office/drawing/2014/main" id="{0CC6303F-6309-9CE4-FBEF-174CD5884D24}"/>
                    </a:ext>
                  </a:extLst>
                </p:cNvPr>
                <p:cNvSpPr/>
                <p:nvPr/>
              </p:nvSpPr>
              <p:spPr>
                <a:xfrm>
                  <a:off x="7745326" y="5009998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6" name="Freihandform 645">
                  <a:extLst>
                    <a:ext uri="{FF2B5EF4-FFF2-40B4-BE49-F238E27FC236}">
                      <a16:creationId xmlns:a16="http://schemas.microsoft.com/office/drawing/2014/main" id="{040B5BF5-ACFC-9DCE-0F5A-75445DC34A14}"/>
                    </a:ext>
                  </a:extLst>
                </p:cNvPr>
                <p:cNvSpPr/>
                <p:nvPr/>
              </p:nvSpPr>
              <p:spPr>
                <a:xfrm>
                  <a:off x="7745326" y="5106473"/>
                  <a:ext cx="126003" cy="81798"/>
                </a:xfrm>
                <a:custGeom>
                  <a:avLst/>
                  <a:gdLst>
                    <a:gd name="connsiteX0" fmla="*/ 126004 w 126003"/>
                    <a:gd name="connsiteY0" fmla="*/ 71964 h 81798"/>
                    <a:gd name="connsiteX1" fmla="*/ 126004 w 126003"/>
                    <a:gd name="connsiteY1" fmla="*/ 9847 h 81798"/>
                    <a:gd name="connsiteX2" fmla="*/ 116159 w 126003"/>
                    <a:gd name="connsiteY2" fmla="*/ 0 h 81798"/>
                    <a:gd name="connsiteX3" fmla="*/ 0 w 126003"/>
                    <a:gd name="connsiteY3" fmla="*/ 0 h 81798"/>
                    <a:gd name="connsiteX4" fmla="*/ 0 w 126003"/>
                    <a:gd name="connsiteY4" fmla="*/ 81799 h 81798"/>
                    <a:gd name="connsiteX5" fmla="*/ 116159 w 126003"/>
                    <a:gd name="connsiteY5" fmla="*/ 81799 h 81798"/>
                    <a:gd name="connsiteX6" fmla="*/ 126004 w 126003"/>
                    <a:gd name="connsiteY6" fmla="*/ 71952 h 8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6003" h="81798">
                      <a:moveTo>
                        <a:pt x="126004" y="71964"/>
                      </a:moveTo>
                      <a:lnTo>
                        <a:pt x="126004" y="9847"/>
                      </a:lnTo>
                      <a:cubicBezTo>
                        <a:pt x="126004" y="4412"/>
                        <a:pt x="121593" y="0"/>
                        <a:pt x="116159" y="0"/>
                      </a:cubicBezTo>
                      <a:lnTo>
                        <a:pt x="0" y="0"/>
                      </a:lnTo>
                      <a:lnTo>
                        <a:pt x="0" y="81799"/>
                      </a:lnTo>
                      <a:lnTo>
                        <a:pt x="116159" y="81799"/>
                      </a:lnTo>
                      <a:cubicBezTo>
                        <a:pt x="121593" y="81799"/>
                        <a:pt x="126004" y="77387"/>
                        <a:pt x="126004" y="71952"/>
                      </a:cubicBezTo>
                      <a:close/>
                    </a:path>
                  </a:pathLst>
                </a:custGeom>
                <a:solidFill>
                  <a:srgbClr val="6CB4A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7" name="Grafik 5">
                <a:extLst>
                  <a:ext uri="{FF2B5EF4-FFF2-40B4-BE49-F238E27FC236}">
                    <a16:creationId xmlns:a16="http://schemas.microsoft.com/office/drawing/2014/main" id="{7508FD62-7A1E-2199-465F-A8EA68B33D97}"/>
                  </a:ext>
                </a:extLst>
              </p:cNvPr>
              <p:cNvGrpSpPr/>
              <p:nvPr/>
            </p:nvGrpSpPr>
            <p:grpSpPr>
              <a:xfrm>
                <a:off x="7475286" y="5139769"/>
                <a:ext cx="377441" cy="15219"/>
                <a:chOff x="7475286" y="5139769"/>
                <a:chExt cx="377441" cy="15219"/>
              </a:xfrm>
            </p:grpSpPr>
            <p:grpSp>
              <p:nvGrpSpPr>
                <p:cNvPr id="648" name="Grafik 5">
                  <a:extLst>
                    <a:ext uri="{FF2B5EF4-FFF2-40B4-BE49-F238E27FC236}">
                      <a16:creationId xmlns:a16="http://schemas.microsoft.com/office/drawing/2014/main" id="{F79E0667-D1A8-69E8-1651-55045EFAA911}"/>
                    </a:ext>
                  </a:extLst>
                </p:cNvPr>
                <p:cNvGrpSpPr/>
                <p:nvPr/>
              </p:nvGrpSpPr>
              <p:grpSpPr>
                <a:xfrm>
                  <a:off x="7475286" y="5140793"/>
                  <a:ext cx="99124" cy="13197"/>
                  <a:chOff x="7475286" y="5140793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649" name="Freihandform 648">
                    <a:extLst>
                      <a:ext uri="{FF2B5EF4-FFF2-40B4-BE49-F238E27FC236}">
                        <a16:creationId xmlns:a16="http://schemas.microsoft.com/office/drawing/2014/main" id="{8F4F30E9-6FAD-162A-0800-6821CBC9CDCB}"/>
                      </a:ext>
                    </a:extLst>
                  </p:cNvPr>
                  <p:cNvSpPr/>
                  <p:nvPr/>
                </p:nvSpPr>
                <p:spPr>
                  <a:xfrm>
                    <a:off x="7475286" y="5140793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50" name="Freihandform 649">
                    <a:extLst>
                      <a:ext uri="{FF2B5EF4-FFF2-40B4-BE49-F238E27FC236}">
                        <a16:creationId xmlns:a16="http://schemas.microsoft.com/office/drawing/2014/main" id="{AF26AC8F-D7A5-EF4B-5679-6A34E8E8FE11}"/>
                      </a:ext>
                    </a:extLst>
                  </p:cNvPr>
                  <p:cNvSpPr/>
                  <p:nvPr/>
                </p:nvSpPr>
                <p:spPr>
                  <a:xfrm>
                    <a:off x="7503934" y="5140793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51" name="Freihandform 650">
                    <a:extLst>
                      <a:ext uri="{FF2B5EF4-FFF2-40B4-BE49-F238E27FC236}">
                        <a16:creationId xmlns:a16="http://schemas.microsoft.com/office/drawing/2014/main" id="{AF50782C-EB84-14A1-DDB4-6649512F0D42}"/>
                      </a:ext>
                    </a:extLst>
                  </p:cNvPr>
                  <p:cNvSpPr/>
                  <p:nvPr/>
                </p:nvSpPr>
                <p:spPr>
                  <a:xfrm>
                    <a:off x="7532569" y="5140793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52" name="Freihandform 651">
                    <a:extLst>
                      <a:ext uri="{FF2B5EF4-FFF2-40B4-BE49-F238E27FC236}">
                        <a16:creationId xmlns:a16="http://schemas.microsoft.com/office/drawing/2014/main" id="{07C779CB-5264-F82A-2D8A-3D035EBF358F}"/>
                      </a:ext>
                    </a:extLst>
                  </p:cNvPr>
                  <p:cNvSpPr/>
                  <p:nvPr/>
                </p:nvSpPr>
                <p:spPr>
                  <a:xfrm>
                    <a:off x="7561217" y="5140793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53" name="Freihandform 652">
                  <a:extLst>
                    <a:ext uri="{FF2B5EF4-FFF2-40B4-BE49-F238E27FC236}">
                      <a16:creationId xmlns:a16="http://schemas.microsoft.com/office/drawing/2014/main" id="{175C9A75-60E2-734E-A04E-DC01179B7FE5}"/>
                    </a:ext>
                  </a:extLst>
                </p:cNvPr>
                <p:cNvSpPr/>
                <p:nvPr/>
              </p:nvSpPr>
              <p:spPr>
                <a:xfrm>
                  <a:off x="7808334" y="5139769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20 h 15219"/>
                    <a:gd name="connsiteX2" fmla="*/ 1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8" y="15220"/>
                      </a:cubicBezTo>
                      <a:cubicBezTo>
                        <a:pt x="3407" y="15220"/>
                        <a:pt x="1" y="11812"/>
                        <a:pt x="1" y="7610"/>
                      </a:cubicBezTo>
                      <a:cubicBezTo>
                        <a:pt x="1" y="3407"/>
                        <a:pt x="3407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4" name="Freihandform 653">
                  <a:extLst>
                    <a:ext uri="{FF2B5EF4-FFF2-40B4-BE49-F238E27FC236}">
                      <a16:creationId xmlns:a16="http://schemas.microsoft.com/office/drawing/2014/main" id="{F2B128A2-B08D-8D85-9E61-5B9B381E6615}"/>
                    </a:ext>
                  </a:extLst>
                </p:cNvPr>
                <p:cNvSpPr/>
                <p:nvPr/>
              </p:nvSpPr>
              <p:spPr>
                <a:xfrm>
                  <a:off x="7837512" y="5139769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20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20"/>
                        <a:pt x="7607" y="15220"/>
                      </a:cubicBezTo>
                      <a:cubicBezTo>
                        <a:pt x="3406" y="15220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55" name="Grafik 5">
                <a:extLst>
                  <a:ext uri="{FF2B5EF4-FFF2-40B4-BE49-F238E27FC236}">
                    <a16:creationId xmlns:a16="http://schemas.microsoft.com/office/drawing/2014/main" id="{9F4B9717-8455-F1CD-F439-4C6DCDBA7416}"/>
                  </a:ext>
                </a:extLst>
              </p:cNvPr>
              <p:cNvGrpSpPr/>
              <p:nvPr/>
            </p:nvGrpSpPr>
            <p:grpSpPr>
              <a:xfrm>
                <a:off x="7475286" y="5043294"/>
                <a:ext cx="377441" cy="15219"/>
                <a:chOff x="7475286" y="5043294"/>
                <a:chExt cx="377441" cy="15219"/>
              </a:xfrm>
            </p:grpSpPr>
            <p:grpSp>
              <p:nvGrpSpPr>
                <p:cNvPr id="656" name="Grafik 5">
                  <a:extLst>
                    <a:ext uri="{FF2B5EF4-FFF2-40B4-BE49-F238E27FC236}">
                      <a16:creationId xmlns:a16="http://schemas.microsoft.com/office/drawing/2014/main" id="{463AE550-3126-CF6E-23D1-368A852404D7}"/>
                    </a:ext>
                  </a:extLst>
                </p:cNvPr>
                <p:cNvGrpSpPr/>
                <p:nvPr/>
              </p:nvGrpSpPr>
              <p:grpSpPr>
                <a:xfrm>
                  <a:off x="7475286" y="5044305"/>
                  <a:ext cx="99124" cy="13197"/>
                  <a:chOff x="7475286" y="5044305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657" name="Freihandform 656">
                    <a:extLst>
                      <a:ext uri="{FF2B5EF4-FFF2-40B4-BE49-F238E27FC236}">
                        <a16:creationId xmlns:a16="http://schemas.microsoft.com/office/drawing/2014/main" id="{319C4800-7AF6-9B25-46E4-058CAA539BE8}"/>
                      </a:ext>
                    </a:extLst>
                  </p:cNvPr>
                  <p:cNvSpPr/>
                  <p:nvPr/>
                </p:nvSpPr>
                <p:spPr>
                  <a:xfrm>
                    <a:off x="7475286" y="5044305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58" name="Freihandform 657">
                    <a:extLst>
                      <a:ext uri="{FF2B5EF4-FFF2-40B4-BE49-F238E27FC236}">
                        <a16:creationId xmlns:a16="http://schemas.microsoft.com/office/drawing/2014/main" id="{C486583C-F415-95B1-32D1-9BD04A47C984}"/>
                      </a:ext>
                    </a:extLst>
                  </p:cNvPr>
                  <p:cNvSpPr/>
                  <p:nvPr/>
                </p:nvSpPr>
                <p:spPr>
                  <a:xfrm>
                    <a:off x="7503934" y="5044305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59" name="Freihandform 658">
                    <a:extLst>
                      <a:ext uri="{FF2B5EF4-FFF2-40B4-BE49-F238E27FC236}">
                        <a16:creationId xmlns:a16="http://schemas.microsoft.com/office/drawing/2014/main" id="{3E32B451-6383-B4CC-D332-EB3FB6549A78}"/>
                      </a:ext>
                    </a:extLst>
                  </p:cNvPr>
                  <p:cNvSpPr/>
                  <p:nvPr/>
                </p:nvSpPr>
                <p:spPr>
                  <a:xfrm>
                    <a:off x="7532569" y="5044305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0" name="Freihandform 659">
                    <a:extLst>
                      <a:ext uri="{FF2B5EF4-FFF2-40B4-BE49-F238E27FC236}">
                        <a16:creationId xmlns:a16="http://schemas.microsoft.com/office/drawing/2014/main" id="{13334938-FCA4-7267-34D3-1E3B060A2DF6}"/>
                      </a:ext>
                    </a:extLst>
                  </p:cNvPr>
                  <p:cNvSpPr/>
                  <p:nvPr/>
                </p:nvSpPr>
                <p:spPr>
                  <a:xfrm>
                    <a:off x="7561217" y="5044305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61" name="Freihandform 660">
                  <a:extLst>
                    <a:ext uri="{FF2B5EF4-FFF2-40B4-BE49-F238E27FC236}">
                      <a16:creationId xmlns:a16="http://schemas.microsoft.com/office/drawing/2014/main" id="{8A6F294A-5EC7-FB39-48FE-F636125CCF93}"/>
                    </a:ext>
                  </a:extLst>
                </p:cNvPr>
                <p:cNvSpPr/>
                <p:nvPr/>
              </p:nvSpPr>
              <p:spPr>
                <a:xfrm>
                  <a:off x="7808334" y="5043294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19 h 15219"/>
                    <a:gd name="connsiteX2" fmla="*/ 1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19"/>
                        <a:pt x="7608" y="15219"/>
                      </a:cubicBezTo>
                      <a:cubicBezTo>
                        <a:pt x="3407" y="15219"/>
                        <a:pt x="1" y="11812"/>
                        <a:pt x="1" y="7610"/>
                      </a:cubicBezTo>
                      <a:cubicBezTo>
                        <a:pt x="1" y="3407"/>
                        <a:pt x="3407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2" name="Freihandform 661">
                  <a:extLst>
                    <a:ext uri="{FF2B5EF4-FFF2-40B4-BE49-F238E27FC236}">
                      <a16:creationId xmlns:a16="http://schemas.microsoft.com/office/drawing/2014/main" id="{E2F9EA3A-B0E7-1DDE-C0F3-4E559755262C}"/>
                    </a:ext>
                  </a:extLst>
                </p:cNvPr>
                <p:cNvSpPr/>
                <p:nvPr/>
              </p:nvSpPr>
              <p:spPr>
                <a:xfrm>
                  <a:off x="7837512" y="5043294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19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19"/>
                        <a:pt x="7607" y="15219"/>
                      </a:cubicBezTo>
                      <a:cubicBezTo>
                        <a:pt x="3406" y="15219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63" name="Grafik 5">
                <a:extLst>
                  <a:ext uri="{FF2B5EF4-FFF2-40B4-BE49-F238E27FC236}">
                    <a16:creationId xmlns:a16="http://schemas.microsoft.com/office/drawing/2014/main" id="{25A53F99-9890-BD2E-2DB9-E56718DEC749}"/>
                  </a:ext>
                </a:extLst>
              </p:cNvPr>
              <p:cNvGrpSpPr/>
              <p:nvPr/>
            </p:nvGrpSpPr>
            <p:grpSpPr>
              <a:xfrm>
                <a:off x="7475286" y="4946819"/>
                <a:ext cx="377441" cy="15219"/>
                <a:chOff x="7475286" y="4946819"/>
                <a:chExt cx="377441" cy="15219"/>
              </a:xfrm>
            </p:grpSpPr>
            <p:grpSp>
              <p:nvGrpSpPr>
                <p:cNvPr id="664" name="Grafik 5">
                  <a:extLst>
                    <a:ext uri="{FF2B5EF4-FFF2-40B4-BE49-F238E27FC236}">
                      <a16:creationId xmlns:a16="http://schemas.microsoft.com/office/drawing/2014/main" id="{921EA7FE-C205-57DA-002E-E56384ACC7EC}"/>
                    </a:ext>
                  </a:extLst>
                </p:cNvPr>
                <p:cNvGrpSpPr/>
                <p:nvPr/>
              </p:nvGrpSpPr>
              <p:grpSpPr>
                <a:xfrm>
                  <a:off x="7475286" y="4947831"/>
                  <a:ext cx="99124" cy="13197"/>
                  <a:chOff x="7475286" y="4947831"/>
                  <a:chExt cx="99124" cy="13197"/>
                </a:xfrm>
                <a:solidFill>
                  <a:srgbClr val="FFFFFF"/>
                </a:solidFill>
              </p:grpSpPr>
              <p:sp>
                <p:nvSpPr>
                  <p:cNvPr id="665" name="Freihandform 664">
                    <a:extLst>
                      <a:ext uri="{FF2B5EF4-FFF2-40B4-BE49-F238E27FC236}">
                        <a16:creationId xmlns:a16="http://schemas.microsoft.com/office/drawing/2014/main" id="{2B287A58-3194-0A48-37C2-F310AD6F2453}"/>
                      </a:ext>
                    </a:extLst>
                  </p:cNvPr>
                  <p:cNvSpPr/>
                  <p:nvPr/>
                </p:nvSpPr>
                <p:spPr>
                  <a:xfrm>
                    <a:off x="7475286" y="4947831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6" name="Freihandform 665">
                    <a:extLst>
                      <a:ext uri="{FF2B5EF4-FFF2-40B4-BE49-F238E27FC236}">
                        <a16:creationId xmlns:a16="http://schemas.microsoft.com/office/drawing/2014/main" id="{1E1381E3-431D-399B-BC6E-E4BDCA595BDA}"/>
                      </a:ext>
                    </a:extLst>
                  </p:cNvPr>
                  <p:cNvSpPr/>
                  <p:nvPr/>
                </p:nvSpPr>
                <p:spPr>
                  <a:xfrm>
                    <a:off x="7503934" y="4947831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7" name="Freihandform 666">
                    <a:extLst>
                      <a:ext uri="{FF2B5EF4-FFF2-40B4-BE49-F238E27FC236}">
                        <a16:creationId xmlns:a16="http://schemas.microsoft.com/office/drawing/2014/main" id="{3D9A7834-340B-9900-2D56-7DDBD9BCC143}"/>
                      </a:ext>
                    </a:extLst>
                  </p:cNvPr>
                  <p:cNvSpPr/>
                  <p:nvPr/>
                </p:nvSpPr>
                <p:spPr>
                  <a:xfrm>
                    <a:off x="7532569" y="4947831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8" name="Freihandform 667">
                    <a:extLst>
                      <a:ext uri="{FF2B5EF4-FFF2-40B4-BE49-F238E27FC236}">
                        <a16:creationId xmlns:a16="http://schemas.microsoft.com/office/drawing/2014/main" id="{6DF27FBC-FE41-C6E6-D0FF-2C3D6640E7D9}"/>
                      </a:ext>
                    </a:extLst>
                  </p:cNvPr>
                  <p:cNvSpPr/>
                  <p:nvPr/>
                </p:nvSpPr>
                <p:spPr>
                  <a:xfrm>
                    <a:off x="7561217" y="4947831"/>
                    <a:ext cx="13193" cy="13197"/>
                  </a:xfrm>
                  <a:custGeom>
                    <a:avLst/>
                    <a:gdLst>
                      <a:gd name="connsiteX0" fmla="*/ 0 w 13193"/>
                      <a:gd name="connsiteY0" fmla="*/ 0 h 13197"/>
                      <a:gd name="connsiteX1" fmla="*/ 13193 w 13193"/>
                      <a:gd name="connsiteY1" fmla="*/ 0 h 13197"/>
                      <a:gd name="connsiteX2" fmla="*/ 13193 w 13193"/>
                      <a:gd name="connsiteY2" fmla="*/ 13197 h 13197"/>
                      <a:gd name="connsiteX3" fmla="*/ 0 w 13193"/>
                      <a:gd name="connsiteY3" fmla="*/ 13197 h 1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193" h="13197">
                        <a:moveTo>
                          <a:pt x="0" y="0"/>
                        </a:moveTo>
                        <a:lnTo>
                          <a:pt x="13193" y="0"/>
                        </a:lnTo>
                        <a:lnTo>
                          <a:pt x="13193" y="13197"/>
                        </a:lnTo>
                        <a:lnTo>
                          <a:pt x="0" y="131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69" name="Freihandform 668">
                  <a:extLst>
                    <a:ext uri="{FF2B5EF4-FFF2-40B4-BE49-F238E27FC236}">
                      <a16:creationId xmlns:a16="http://schemas.microsoft.com/office/drawing/2014/main" id="{E5AC1078-8D1A-D1A3-8E46-E32429F9FCE1}"/>
                    </a:ext>
                  </a:extLst>
                </p:cNvPr>
                <p:cNvSpPr/>
                <p:nvPr/>
              </p:nvSpPr>
              <p:spPr>
                <a:xfrm>
                  <a:off x="7808334" y="4946819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8 w 15214"/>
                    <a:gd name="connsiteY1" fmla="*/ 15219 h 15219"/>
                    <a:gd name="connsiteX2" fmla="*/ 1 w 15214"/>
                    <a:gd name="connsiteY2" fmla="*/ 7610 h 15219"/>
                    <a:gd name="connsiteX3" fmla="*/ 7608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19"/>
                        <a:pt x="7608" y="15219"/>
                      </a:cubicBezTo>
                      <a:cubicBezTo>
                        <a:pt x="3407" y="15219"/>
                        <a:pt x="1" y="11812"/>
                        <a:pt x="1" y="7610"/>
                      </a:cubicBezTo>
                      <a:cubicBezTo>
                        <a:pt x="1" y="3407"/>
                        <a:pt x="3407" y="0"/>
                        <a:pt x="7608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B8DEDA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0" name="Freihandform 669">
                  <a:extLst>
                    <a:ext uri="{FF2B5EF4-FFF2-40B4-BE49-F238E27FC236}">
                      <a16:creationId xmlns:a16="http://schemas.microsoft.com/office/drawing/2014/main" id="{3FD7D413-3AF7-3760-04F3-8513452B4728}"/>
                    </a:ext>
                  </a:extLst>
                </p:cNvPr>
                <p:cNvSpPr/>
                <p:nvPr/>
              </p:nvSpPr>
              <p:spPr>
                <a:xfrm>
                  <a:off x="7837512" y="4946819"/>
                  <a:ext cx="15214" cy="15219"/>
                </a:xfrm>
                <a:custGeom>
                  <a:avLst/>
                  <a:gdLst>
                    <a:gd name="connsiteX0" fmla="*/ 15215 w 15214"/>
                    <a:gd name="connsiteY0" fmla="*/ 7610 h 15219"/>
                    <a:gd name="connsiteX1" fmla="*/ 7607 w 15214"/>
                    <a:gd name="connsiteY1" fmla="*/ 15219 h 15219"/>
                    <a:gd name="connsiteX2" fmla="*/ 0 w 15214"/>
                    <a:gd name="connsiteY2" fmla="*/ 7610 h 15219"/>
                    <a:gd name="connsiteX3" fmla="*/ 7607 w 15214"/>
                    <a:gd name="connsiteY3" fmla="*/ 0 h 15219"/>
                    <a:gd name="connsiteX4" fmla="*/ 15215 w 15214"/>
                    <a:gd name="connsiteY4" fmla="*/ 7610 h 15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14" h="15219">
                      <a:moveTo>
                        <a:pt x="15215" y="7610"/>
                      </a:moveTo>
                      <a:cubicBezTo>
                        <a:pt x="15215" y="11813"/>
                        <a:pt x="11809" y="15219"/>
                        <a:pt x="7607" y="15219"/>
                      </a:cubicBezTo>
                      <a:cubicBezTo>
                        <a:pt x="3406" y="15219"/>
                        <a:pt x="0" y="11812"/>
                        <a:pt x="0" y="7610"/>
                      </a:cubicBezTo>
                      <a:cubicBezTo>
                        <a:pt x="0" y="3407"/>
                        <a:pt x="3406" y="0"/>
                        <a:pt x="7607" y="0"/>
                      </a:cubicBezTo>
                      <a:cubicBezTo>
                        <a:pt x="11809" y="0"/>
                        <a:pt x="15215" y="3407"/>
                        <a:pt x="15215" y="7610"/>
                      </a:cubicBezTo>
                      <a:close/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671" name="Grafik 5">
            <a:extLst>
              <a:ext uri="{FF2B5EF4-FFF2-40B4-BE49-F238E27FC236}">
                <a16:creationId xmlns:a16="http://schemas.microsoft.com/office/drawing/2014/main" id="{DA4CD70D-0DEF-9C2B-7ABB-C757D280F696}"/>
              </a:ext>
            </a:extLst>
          </p:cNvPr>
          <p:cNvGrpSpPr/>
          <p:nvPr/>
        </p:nvGrpSpPr>
        <p:grpSpPr>
          <a:xfrm>
            <a:off x="8836041" y="5001225"/>
            <a:ext cx="373436" cy="197866"/>
            <a:chOff x="8836041" y="5001225"/>
            <a:chExt cx="373436" cy="197866"/>
          </a:xfrm>
        </p:grpSpPr>
        <p:sp>
          <p:nvSpPr>
            <p:cNvPr id="672" name="Freihandform 671">
              <a:extLst>
                <a:ext uri="{FF2B5EF4-FFF2-40B4-BE49-F238E27FC236}">
                  <a16:creationId xmlns:a16="http://schemas.microsoft.com/office/drawing/2014/main" id="{F6E9B093-0270-F4EC-9F5E-3F1704602CDD}"/>
                </a:ext>
              </a:extLst>
            </p:cNvPr>
            <p:cNvSpPr/>
            <p:nvPr/>
          </p:nvSpPr>
          <p:spPr>
            <a:xfrm>
              <a:off x="8836041" y="5171295"/>
              <a:ext cx="373436" cy="27797"/>
            </a:xfrm>
            <a:custGeom>
              <a:avLst/>
              <a:gdLst>
                <a:gd name="connsiteX0" fmla="*/ 336948 w 373436"/>
                <a:gd name="connsiteY0" fmla="*/ 0 h 27797"/>
                <a:gd name="connsiteX1" fmla="*/ 36479 w 373436"/>
                <a:gd name="connsiteY1" fmla="*/ 0 h 27797"/>
                <a:gd name="connsiteX2" fmla="*/ 15969 w 373436"/>
                <a:gd name="connsiteY2" fmla="*/ 6573 h 27797"/>
                <a:gd name="connsiteX3" fmla="*/ 2688 w 373436"/>
                <a:gd name="connsiteY3" fmla="*/ 15700 h 27797"/>
                <a:gd name="connsiteX4" fmla="*/ 5202 w 373436"/>
                <a:gd name="connsiteY4" fmla="*/ 27797 h 27797"/>
                <a:gd name="connsiteX5" fmla="*/ 368238 w 373436"/>
                <a:gd name="connsiteY5" fmla="*/ 27797 h 27797"/>
                <a:gd name="connsiteX6" fmla="*/ 370752 w 373436"/>
                <a:gd name="connsiteY6" fmla="*/ 15700 h 27797"/>
                <a:gd name="connsiteX7" fmla="*/ 357471 w 373436"/>
                <a:gd name="connsiteY7" fmla="*/ 6573 h 27797"/>
                <a:gd name="connsiteX8" fmla="*/ 336961 w 373436"/>
                <a:gd name="connsiteY8" fmla="*/ 0 h 2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3436" h="27797">
                  <a:moveTo>
                    <a:pt x="336948" y="0"/>
                  </a:moveTo>
                  <a:lnTo>
                    <a:pt x="36479" y="0"/>
                  </a:lnTo>
                  <a:cubicBezTo>
                    <a:pt x="29301" y="0"/>
                    <a:pt x="22249" y="2263"/>
                    <a:pt x="15969" y="6573"/>
                  </a:cubicBezTo>
                  <a:lnTo>
                    <a:pt x="2688" y="15700"/>
                  </a:lnTo>
                  <a:cubicBezTo>
                    <a:pt x="-2001" y="18923"/>
                    <a:pt x="-169" y="27797"/>
                    <a:pt x="5202" y="27797"/>
                  </a:cubicBezTo>
                  <a:lnTo>
                    <a:pt x="368238" y="27797"/>
                  </a:lnTo>
                  <a:cubicBezTo>
                    <a:pt x="373596" y="27797"/>
                    <a:pt x="375441" y="18923"/>
                    <a:pt x="370752" y="15700"/>
                  </a:cubicBezTo>
                  <a:lnTo>
                    <a:pt x="357471" y="6573"/>
                  </a:lnTo>
                  <a:cubicBezTo>
                    <a:pt x="351190" y="2263"/>
                    <a:pt x="344139" y="0"/>
                    <a:pt x="336961" y="0"/>
                  </a:cubicBezTo>
                  <a:close/>
                </a:path>
              </a:pathLst>
            </a:custGeom>
            <a:solidFill>
              <a:srgbClr val="0A827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73" name="Grafik 5">
              <a:extLst>
                <a:ext uri="{FF2B5EF4-FFF2-40B4-BE49-F238E27FC236}">
                  <a16:creationId xmlns:a16="http://schemas.microsoft.com/office/drawing/2014/main" id="{7B2E7BFC-2CA4-A059-EA5D-2EA869771FF6}"/>
                </a:ext>
              </a:extLst>
            </p:cNvPr>
            <p:cNvGrpSpPr/>
            <p:nvPr/>
          </p:nvGrpSpPr>
          <p:grpSpPr>
            <a:xfrm>
              <a:off x="8883249" y="5001225"/>
              <a:ext cx="274589" cy="183974"/>
              <a:chOff x="8883249" y="5001225"/>
              <a:chExt cx="274589" cy="183974"/>
            </a:xfrm>
          </p:grpSpPr>
          <p:sp>
            <p:nvSpPr>
              <p:cNvPr id="674" name="Freihandform 673">
                <a:extLst>
                  <a:ext uri="{FF2B5EF4-FFF2-40B4-BE49-F238E27FC236}">
                    <a16:creationId xmlns:a16="http://schemas.microsoft.com/office/drawing/2014/main" id="{AF58F3C1-E76F-7044-57A8-07F1F0982F6A}"/>
                  </a:ext>
                </a:extLst>
              </p:cNvPr>
              <p:cNvSpPr/>
              <p:nvPr/>
            </p:nvSpPr>
            <p:spPr>
              <a:xfrm>
                <a:off x="8883249" y="5124511"/>
                <a:ext cx="274589" cy="60688"/>
              </a:xfrm>
              <a:custGeom>
                <a:avLst/>
                <a:gdLst>
                  <a:gd name="connsiteX0" fmla="*/ 266135 w 274589"/>
                  <a:gd name="connsiteY0" fmla="*/ 0 h 60688"/>
                  <a:gd name="connsiteX1" fmla="*/ 274589 w 274589"/>
                  <a:gd name="connsiteY1" fmla="*/ 8457 h 60688"/>
                  <a:gd name="connsiteX2" fmla="*/ 274589 w 274589"/>
                  <a:gd name="connsiteY2" fmla="*/ 52232 h 60688"/>
                  <a:gd name="connsiteX3" fmla="*/ 266135 w 274589"/>
                  <a:gd name="connsiteY3" fmla="*/ 60689 h 60688"/>
                  <a:gd name="connsiteX4" fmla="*/ 8454 w 274589"/>
                  <a:gd name="connsiteY4" fmla="*/ 60689 h 60688"/>
                  <a:gd name="connsiteX5" fmla="*/ 0 w 274589"/>
                  <a:gd name="connsiteY5" fmla="*/ 52232 h 60688"/>
                  <a:gd name="connsiteX6" fmla="*/ 0 w 274589"/>
                  <a:gd name="connsiteY6" fmla="*/ 8457 h 60688"/>
                  <a:gd name="connsiteX7" fmla="*/ 8454 w 274589"/>
                  <a:gd name="connsiteY7" fmla="*/ 0 h 60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4589" h="60688">
                    <a:moveTo>
                      <a:pt x="266135" y="0"/>
                    </a:moveTo>
                    <a:cubicBezTo>
                      <a:pt x="270805" y="0"/>
                      <a:pt x="274589" y="3786"/>
                      <a:pt x="274589" y="8457"/>
                    </a:cubicBezTo>
                    <a:lnTo>
                      <a:pt x="274589" y="52232"/>
                    </a:lnTo>
                    <a:cubicBezTo>
                      <a:pt x="274589" y="56902"/>
                      <a:pt x="270805" y="60689"/>
                      <a:pt x="266135" y="60689"/>
                    </a:cubicBezTo>
                    <a:lnTo>
                      <a:pt x="8454" y="60689"/>
                    </a:lnTo>
                    <a:cubicBezTo>
                      <a:pt x="3785" y="60689"/>
                      <a:pt x="0" y="56902"/>
                      <a:pt x="0" y="52232"/>
                    </a:cubicBezTo>
                    <a:lnTo>
                      <a:pt x="0" y="8457"/>
                    </a:lnTo>
                    <a:cubicBezTo>
                      <a:pt x="0" y="3786"/>
                      <a:pt x="3785" y="0"/>
                      <a:pt x="8454" y="0"/>
                    </a:cubicBezTo>
                    <a:close/>
                  </a:path>
                </a:pathLst>
              </a:custGeom>
              <a:solidFill>
                <a:srgbClr val="B8DEDA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5" name="Freihandform 674">
                <a:extLst>
                  <a:ext uri="{FF2B5EF4-FFF2-40B4-BE49-F238E27FC236}">
                    <a16:creationId xmlns:a16="http://schemas.microsoft.com/office/drawing/2014/main" id="{7900994C-EE73-D4A1-082A-44E523DCDBA5}"/>
                  </a:ext>
                </a:extLst>
              </p:cNvPr>
              <p:cNvSpPr/>
              <p:nvPr/>
            </p:nvSpPr>
            <p:spPr>
              <a:xfrm>
                <a:off x="8896050" y="5142322"/>
                <a:ext cx="248973" cy="21110"/>
              </a:xfrm>
              <a:custGeom>
                <a:avLst/>
                <a:gdLst>
                  <a:gd name="connsiteX0" fmla="*/ 245903 w 248973"/>
                  <a:gd name="connsiteY0" fmla="*/ 0 h 21110"/>
                  <a:gd name="connsiteX1" fmla="*/ 248974 w 248973"/>
                  <a:gd name="connsiteY1" fmla="*/ 3072 h 21110"/>
                  <a:gd name="connsiteX2" fmla="*/ 248974 w 248973"/>
                  <a:gd name="connsiteY2" fmla="*/ 18038 h 21110"/>
                  <a:gd name="connsiteX3" fmla="*/ 245903 w 248973"/>
                  <a:gd name="connsiteY3" fmla="*/ 21110 h 21110"/>
                  <a:gd name="connsiteX4" fmla="*/ 3071 w 248973"/>
                  <a:gd name="connsiteY4" fmla="*/ 21110 h 21110"/>
                  <a:gd name="connsiteX5" fmla="*/ 0 w 248973"/>
                  <a:gd name="connsiteY5" fmla="*/ 18038 h 21110"/>
                  <a:gd name="connsiteX6" fmla="*/ 0 w 248973"/>
                  <a:gd name="connsiteY6" fmla="*/ 3072 h 21110"/>
                  <a:gd name="connsiteX7" fmla="*/ 3071 w 248973"/>
                  <a:gd name="connsiteY7" fmla="*/ 0 h 21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8973" h="21110">
                    <a:moveTo>
                      <a:pt x="245903" y="0"/>
                    </a:moveTo>
                    <a:cubicBezTo>
                      <a:pt x="247599" y="0"/>
                      <a:pt x="248974" y="1375"/>
                      <a:pt x="248974" y="3072"/>
                    </a:cubicBezTo>
                    <a:lnTo>
                      <a:pt x="248974" y="18038"/>
                    </a:lnTo>
                    <a:cubicBezTo>
                      <a:pt x="248974" y="19735"/>
                      <a:pt x="247599" y="21110"/>
                      <a:pt x="245903" y="21110"/>
                    </a:cubicBezTo>
                    <a:lnTo>
                      <a:pt x="3071" y="21110"/>
                    </a:lnTo>
                    <a:cubicBezTo>
                      <a:pt x="1375" y="21110"/>
                      <a:pt x="0" y="19735"/>
                      <a:pt x="0" y="18038"/>
                    </a:cubicBezTo>
                    <a:lnTo>
                      <a:pt x="0" y="3072"/>
                    </a:lnTo>
                    <a:cubicBezTo>
                      <a:pt x="0" y="1375"/>
                      <a:pt x="1375" y="0"/>
                      <a:pt x="3071" y="0"/>
                    </a:cubicBezTo>
                    <a:close/>
                  </a:path>
                </a:pathLst>
              </a:custGeom>
              <a:solidFill>
                <a:srgbClr val="3B9B9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6" name="Freihandform 675">
                <a:extLst>
                  <a:ext uri="{FF2B5EF4-FFF2-40B4-BE49-F238E27FC236}">
                    <a16:creationId xmlns:a16="http://schemas.microsoft.com/office/drawing/2014/main" id="{EF7A9756-E2D0-6634-1CEC-248CA52D9C50}"/>
                  </a:ext>
                </a:extLst>
              </p:cNvPr>
              <p:cNvSpPr/>
              <p:nvPr/>
            </p:nvSpPr>
            <p:spPr>
              <a:xfrm>
                <a:off x="8909408" y="5001225"/>
                <a:ext cx="13369" cy="123273"/>
              </a:xfrm>
              <a:custGeom>
                <a:avLst/>
                <a:gdLst>
                  <a:gd name="connsiteX0" fmla="*/ 9957 w 13369"/>
                  <a:gd name="connsiteY0" fmla="*/ 64177 h 123273"/>
                  <a:gd name="connsiteX1" fmla="*/ 9957 w 13369"/>
                  <a:gd name="connsiteY1" fmla="*/ 3274 h 123273"/>
                  <a:gd name="connsiteX2" fmla="*/ 6685 w 13369"/>
                  <a:gd name="connsiteY2" fmla="*/ 0 h 123273"/>
                  <a:gd name="connsiteX3" fmla="*/ 3411 w 13369"/>
                  <a:gd name="connsiteY3" fmla="*/ 3274 h 123273"/>
                  <a:gd name="connsiteX4" fmla="*/ 3411 w 13369"/>
                  <a:gd name="connsiteY4" fmla="*/ 64177 h 123273"/>
                  <a:gd name="connsiteX5" fmla="*/ 0 w 13369"/>
                  <a:gd name="connsiteY5" fmla="*/ 73001 h 123273"/>
                  <a:gd name="connsiteX6" fmla="*/ 0 w 13369"/>
                  <a:gd name="connsiteY6" fmla="*/ 123273 h 123273"/>
                  <a:gd name="connsiteX7" fmla="*/ 13370 w 13369"/>
                  <a:gd name="connsiteY7" fmla="*/ 123273 h 123273"/>
                  <a:gd name="connsiteX8" fmla="*/ 13370 w 13369"/>
                  <a:gd name="connsiteY8" fmla="*/ 73001 h 123273"/>
                  <a:gd name="connsiteX9" fmla="*/ 9957 w 13369"/>
                  <a:gd name="connsiteY9" fmla="*/ 64177 h 12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369" h="123273">
                    <a:moveTo>
                      <a:pt x="9957" y="64177"/>
                    </a:moveTo>
                    <a:lnTo>
                      <a:pt x="9957" y="3274"/>
                    </a:lnTo>
                    <a:cubicBezTo>
                      <a:pt x="9957" y="1466"/>
                      <a:pt x="8492" y="0"/>
                      <a:pt x="6685" y="0"/>
                    </a:cubicBezTo>
                    <a:cubicBezTo>
                      <a:pt x="4878" y="0"/>
                      <a:pt x="3411" y="1466"/>
                      <a:pt x="3411" y="3274"/>
                    </a:cubicBezTo>
                    <a:lnTo>
                      <a:pt x="3411" y="64177"/>
                    </a:lnTo>
                    <a:lnTo>
                      <a:pt x="0" y="73001"/>
                    </a:lnTo>
                    <a:lnTo>
                      <a:pt x="0" y="123273"/>
                    </a:lnTo>
                    <a:lnTo>
                      <a:pt x="13370" y="123273"/>
                    </a:lnTo>
                    <a:lnTo>
                      <a:pt x="13370" y="73001"/>
                    </a:lnTo>
                    <a:lnTo>
                      <a:pt x="9957" y="64177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7" name="Freihandform 676">
                <a:extLst>
                  <a:ext uri="{FF2B5EF4-FFF2-40B4-BE49-F238E27FC236}">
                    <a16:creationId xmlns:a16="http://schemas.microsoft.com/office/drawing/2014/main" id="{D71966B1-97B8-CC10-DBAA-E133056D71F8}"/>
                  </a:ext>
                </a:extLst>
              </p:cNvPr>
              <p:cNvSpPr/>
              <p:nvPr/>
            </p:nvSpPr>
            <p:spPr>
              <a:xfrm>
                <a:off x="9118297" y="5001225"/>
                <a:ext cx="13369" cy="123273"/>
              </a:xfrm>
              <a:custGeom>
                <a:avLst/>
                <a:gdLst>
                  <a:gd name="connsiteX0" fmla="*/ 9958 w 13369"/>
                  <a:gd name="connsiteY0" fmla="*/ 64177 h 123273"/>
                  <a:gd name="connsiteX1" fmla="*/ 9958 w 13369"/>
                  <a:gd name="connsiteY1" fmla="*/ 3274 h 123273"/>
                  <a:gd name="connsiteX2" fmla="*/ 6685 w 13369"/>
                  <a:gd name="connsiteY2" fmla="*/ 0 h 123273"/>
                  <a:gd name="connsiteX3" fmla="*/ 3412 w 13369"/>
                  <a:gd name="connsiteY3" fmla="*/ 3274 h 123273"/>
                  <a:gd name="connsiteX4" fmla="*/ 3412 w 13369"/>
                  <a:gd name="connsiteY4" fmla="*/ 64177 h 123273"/>
                  <a:gd name="connsiteX5" fmla="*/ 0 w 13369"/>
                  <a:gd name="connsiteY5" fmla="*/ 73001 h 123273"/>
                  <a:gd name="connsiteX6" fmla="*/ 0 w 13369"/>
                  <a:gd name="connsiteY6" fmla="*/ 123273 h 123273"/>
                  <a:gd name="connsiteX7" fmla="*/ 13370 w 13369"/>
                  <a:gd name="connsiteY7" fmla="*/ 123273 h 123273"/>
                  <a:gd name="connsiteX8" fmla="*/ 13370 w 13369"/>
                  <a:gd name="connsiteY8" fmla="*/ 73001 h 123273"/>
                  <a:gd name="connsiteX9" fmla="*/ 9958 w 13369"/>
                  <a:gd name="connsiteY9" fmla="*/ 64177 h 12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369" h="123273">
                    <a:moveTo>
                      <a:pt x="9958" y="64177"/>
                    </a:moveTo>
                    <a:lnTo>
                      <a:pt x="9958" y="3274"/>
                    </a:lnTo>
                    <a:cubicBezTo>
                      <a:pt x="9958" y="1466"/>
                      <a:pt x="8492" y="0"/>
                      <a:pt x="6685" y="0"/>
                    </a:cubicBezTo>
                    <a:cubicBezTo>
                      <a:pt x="4878" y="0"/>
                      <a:pt x="3412" y="1466"/>
                      <a:pt x="3412" y="3274"/>
                    </a:cubicBezTo>
                    <a:lnTo>
                      <a:pt x="3412" y="64177"/>
                    </a:lnTo>
                    <a:lnTo>
                      <a:pt x="0" y="73001"/>
                    </a:lnTo>
                    <a:lnTo>
                      <a:pt x="0" y="123273"/>
                    </a:lnTo>
                    <a:lnTo>
                      <a:pt x="13370" y="123273"/>
                    </a:lnTo>
                    <a:lnTo>
                      <a:pt x="13370" y="73001"/>
                    </a:lnTo>
                    <a:lnTo>
                      <a:pt x="9958" y="64177"/>
                    </a:lnTo>
                    <a:close/>
                  </a:path>
                </a:pathLst>
              </a:custGeom>
              <a:solidFill>
                <a:srgbClr val="06534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8" name="Freihandform 677">
                <a:extLst>
                  <a:ext uri="{FF2B5EF4-FFF2-40B4-BE49-F238E27FC236}">
                    <a16:creationId xmlns:a16="http://schemas.microsoft.com/office/drawing/2014/main" id="{026F1952-1D7D-D321-A238-9A56BA0865DE}"/>
                  </a:ext>
                </a:extLst>
              </p:cNvPr>
              <p:cNvSpPr/>
              <p:nvPr/>
            </p:nvSpPr>
            <p:spPr>
              <a:xfrm>
                <a:off x="8902507" y="5148049"/>
                <a:ext cx="236071" cy="9670"/>
              </a:xfrm>
              <a:custGeom>
                <a:avLst/>
                <a:gdLst>
                  <a:gd name="connsiteX0" fmla="*/ 231244 w 236071"/>
                  <a:gd name="connsiteY0" fmla="*/ 0 h 9670"/>
                  <a:gd name="connsiteX1" fmla="*/ 236072 w 236071"/>
                  <a:gd name="connsiteY1" fmla="*/ 4829 h 9670"/>
                  <a:gd name="connsiteX2" fmla="*/ 236072 w 236071"/>
                  <a:gd name="connsiteY2" fmla="*/ 4841 h 9670"/>
                  <a:gd name="connsiteX3" fmla="*/ 231244 w 236071"/>
                  <a:gd name="connsiteY3" fmla="*/ 9670 h 9670"/>
                  <a:gd name="connsiteX4" fmla="*/ 4828 w 236071"/>
                  <a:gd name="connsiteY4" fmla="*/ 9670 h 9670"/>
                  <a:gd name="connsiteX5" fmla="*/ 0 w 236071"/>
                  <a:gd name="connsiteY5" fmla="*/ 4841 h 9670"/>
                  <a:gd name="connsiteX6" fmla="*/ 0 w 236071"/>
                  <a:gd name="connsiteY6" fmla="*/ 4829 h 9670"/>
                  <a:gd name="connsiteX7" fmla="*/ 4828 w 236071"/>
                  <a:gd name="connsiteY7" fmla="*/ 0 h 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6071" h="9670">
                    <a:moveTo>
                      <a:pt x="231244" y="0"/>
                    </a:moveTo>
                    <a:cubicBezTo>
                      <a:pt x="233911" y="0"/>
                      <a:pt x="236072" y="2162"/>
                      <a:pt x="236072" y="4829"/>
                    </a:cubicBezTo>
                    <a:lnTo>
                      <a:pt x="236072" y="4841"/>
                    </a:lnTo>
                    <a:cubicBezTo>
                      <a:pt x="236072" y="7508"/>
                      <a:pt x="233911" y="9670"/>
                      <a:pt x="231244" y="9670"/>
                    </a:cubicBezTo>
                    <a:lnTo>
                      <a:pt x="4828" y="9670"/>
                    </a:lnTo>
                    <a:cubicBezTo>
                      <a:pt x="2161" y="9670"/>
                      <a:pt x="0" y="7508"/>
                      <a:pt x="0" y="4841"/>
                    </a:cubicBezTo>
                    <a:lnTo>
                      <a:pt x="0" y="4829"/>
                    </a:lnTo>
                    <a:cubicBezTo>
                      <a:pt x="0" y="2162"/>
                      <a:pt x="2161" y="0"/>
                      <a:pt x="4828" y="0"/>
                    </a:cubicBezTo>
                    <a:close/>
                  </a:path>
                </a:pathLst>
              </a:custGeom>
              <a:solidFill>
                <a:srgbClr val="08665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79" name="Grafik 5">
                <a:extLst>
                  <a:ext uri="{FF2B5EF4-FFF2-40B4-BE49-F238E27FC236}">
                    <a16:creationId xmlns:a16="http://schemas.microsoft.com/office/drawing/2014/main" id="{59BF8985-70F7-D640-5517-8B9D622AF28E}"/>
                  </a:ext>
                </a:extLst>
              </p:cNvPr>
              <p:cNvGrpSpPr/>
              <p:nvPr/>
            </p:nvGrpSpPr>
            <p:grpSpPr>
              <a:xfrm>
                <a:off x="8909407" y="5150691"/>
                <a:ext cx="222272" cy="4373"/>
                <a:chOff x="8909407" y="5150691"/>
                <a:chExt cx="222272" cy="4373"/>
              </a:xfrm>
              <a:solidFill>
                <a:srgbClr val="B9D257"/>
              </a:solidFill>
            </p:grpSpPr>
            <p:sp>
              <p:nvSpPr>
                <p:cNvPr id="680" name="Freihandform 679">
                  <a:extLst>
                    <a:ext uri="{FF2B5EF4-FFF2-40B4-BE49-F238E27FC236}">
                      <a16:creationId xmlns:a16="http://schemas.microsoft.com/office/drawing/2014/main" id="{7BE19719-7D4E-7FA5-D2A6-59D93D93C697}"/>
                    </a:ext>
                  </a:extLst>
                </p:cNvPr>
                <p:cNvSpPr/>
                <p:nvPr/>
              </p:nvSpPr>
              <p:spPr>
                <a:xfrm>
                  <a:off x="8909407" y="5150691"/>
                  <a:ext cx="17653" cy="4373"/>
                </a:xfrm>
                <a:custGeom>
                  <a:avLst/>
                  <a:gdLst>
                    <a:gd name="connsiteX0" fmla="*/ 0 w 17653"/>
                    <a:gd name="connsiteY0" fmla="*/ 0 h 4373"/>
                    <a:gd name="connsiteX1" fmla="*/ 17654 w 17653"/>
                    <a:gd name="connsiteY1" fmla="*/ 0 h 4373"/>
                    <a:gd name="connsiteX2" fmla="*/ 17654 w 17653"/>
                    <a:gd name="connsiteY2" fmla="*/ 4374 h 4373"/>
                    <a:gd name="connsiteX3" fmla="*/ 0 w 17653"/>
                    <a:gd name="connsiteY3" fmla="*/ 4374 h 4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653" h="4373">
                      <a:moveTo>
                        <a:pt x="0" y="0"/>
                      </a:moveTo>
                      <a:lnTo>
                        <a:pt x="17654" y="0"/>
                      </a:lnTo>
                      <a:lnTo>
                        <a:pt x="17654" y="4374"/>
                      </a:lnTo>
                      <a:lnTo>
                        <a:pt x="0" y="4374"/>
                      </a:lnTo>
                      <a:close/>
                    </a:path>
                  </a:pathLst>
                </a:custGeom>
                <a:solidFill>
                  <a:srgbClr val="B9D25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81" name="Grafik 5">
                  <a:extLst>
                    <a:ext uri="{FF2B5EF4-FFF2-40B4-BE49-F238E27FC236}">
                      <a16:creationId xmlns:a16="http://schemas.microsoft.com/office/drawing/2014/main" id="{F9F22ED7-C106-2868-7A73-B6C587D4D210}"/>
                    </a:ext>
                  </a:extLst>
                </p:cNvPr>
                <p:cNvGrpSpPr/>
                <p:nvPr/>
              </p:nvGrpSpPr>
              <p:grpSpPr>
                <a:xfrm>
                  <a:off x="9045192" y="5150691"/>
                  <a:ext cx="86487" cy="4373"/>
                  <a:chOff x="9045192" y="5150691"/>
                  <a:chExt cx="86487" cy="4373"/>
                </a:xfrm>
                <a:solidFill>
                  <a:srgbClr val="B9D257"/>
                </a:solidFill>
              </p:grpSpPr>
              <p:sp>
                <p:nvSpPr>
                  <p:cNvPr id="682" name="Freihandform 681">
                    <a:extLst>
                      <a:ext uri="{FF2B5EF4-FFF2-40B4-BE49-F238E27FC236}">
                        <a16:creationId xmlns:a16="http://schemas.microsoft.com/office/drawing/2014/main" id="{3DD8F7FB-FAD3-3111-99B1-9D9D950B52B8}"/>
                      </a:ext>
                    </a:extLst>
                  </p:cNvPr>
                  <p:cNvSpPr/>
                  <p:nvPr/>
                </p:nvSpPr>
                <p:spPr>
                  <a:xfrm>
                    <a:off x="9045192" y="5150691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3" name="Freihandform 682">
                    <a:extLst>
                      <a:ext uri="{FF2B5EF4-FFF2-40B4-BE49-F238E27FC236}">
                        <a16:creationId xmlns:a16="http://schemas.microsoft.com/office/drawing/2014/main" id="{71658DCF-4047-6E57-9D6A-B302A14160CE}"/>
                      </a:ext>
                    </a:extLst>
                  </p:cNvPr>
                  <p:cNvSpPr/>
                  <p:nvPr/>
                </p:nvSpPr>
                <p:spPr>
                  <a:xfrm>
                    <a:off x="9061001" y="5150691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4" name="Freihandform 683">
                    <a:extLst>
                      <a:ext uri="{FF2B5EF4-FFF2-40B4-BE49-F238E27FC236}">
                        <a16:creationId xmlns:a16="http://schemas.microsoft.com/office/drawing/2014/main" id="{23259478-B323-DB77-D742-DA5988C5DEF7}"/>
                      </a:ext>
                    </a:extLst>
                  </p:cNvPr>
                  <p:cNvSpPr/>
                  <p:nvPr/>
                </p:nvSpPr>
                <p:spPr>
                  <a:xfrm>
                    <a:off x="9076822" y="5150691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5" name="Freihandform 684">
                    <a:extLst>
                      <a:ext uri="{FF2B5EF4-FFF2-40B4-BE49-F238E27FC236}">
                        <a16:creationId xmlns:a16="http://schemas.microsoft.com/office/drawing/2014/main" id="{44038F47-0316-3B16-D8BE-2E21429093E4}"/>
                      </a:ext>
                    </a:extLst>
                  </p:cNvPr>
                  <p:cNvSpPr/>
                  <p:nvPr/>
                </p:nvSpPr>
                <p:spPr>
                  <a:xfrm>
                    <a:off x="9092631" y="5150691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6" name="Freihandform 685">
                    <a:extLst>
                      <a:ext uri="{FF2B5EF4-FFF2-40B4-BE49-F238E27FC236}">
                        <a16:creationId xmlns:a16="http://schemas.microsoft.com/office/drawing/2014/main" id="{87DC83BD-D741-BF95-7568-34A7544C3207}"/>
                      </a:ext>
                    </a:extLst>
                  </p:cNvPr>
                  <p:cNvSpPr/>
                  <p:nvPr/>
                </p:nvSpPr>
                <p:spPr>
                  <a:xfrm>
                    <a:off x="9108452" y="5150691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7" name="Freihandform 686">
                    <a:extLst>
                      <a:ext uri="{FF2B5EF4-FFF2-40B4-BE49-F238E27FC236}">
                        <a16:creationId xmlns:a16="http://schemas.microsoft.com/office/drawing/2014/main" id="{DCADB6AE-C184-2358-E221-81123DED7BCD}"/>
                      </a:ext>
                    </a:extLst>
                  </p:cNvPr>
                  <p:cNvSpPr/>
                  <p:nvPr/>
                </p:nvSpPr>
                <p:spPr>
                  <a:xfrm>
                    <a:off x="9124274" y="5150691"/>
                    <a:ext cx="7405" cy="4373"/>
                  </a:xfrm>
                  <a:custGeom>
                    <a:avLst/>
                    <a:gdLst>
                      <a:gd name="connsiteX0" fmla="*/ 0 w 7405"/>
                      <a:gd name="connsiteY0" fmla="*/ 0 h 4373"/>
                      <a:gd name="connsiteX1" fmla="*/ 7405 w 7405"/>
                      <a:gd name="connsiteY1" fmla="*/ 0 h 4373"/>
                      <a:gd name="connsiteX2" fmla="*/ 7405 w 7405"/>
                      <a:gd name="connsiteY2" fmla="*/ 4374 h 4373"/>
                      <a:gd name="connsiteX3" fmla="*/ 0 w 7405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05" h="4373">
                        <a:moveTo>
                          <a:pt x="0" y="0"/>
                        </a:moveTo>
                        <a:lnTo>
                          <a:pt x="7405" y="0"/>
                        </a:lnTo>
                        <a:lnTo>
                          <a:pt x="7405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88" name="Grafik 5">
            <a:extLst>
              <a:ext uri="{FF2B5EF4-FFF2-40B4-BE49-F238E27FC236}">
                <a16:creationId xmlns:a16="http://schemas.microsoft.com/office/drawing/2014/main" id="{E77195A7-878C-08AA-D1DC-95FCA43BA9F5}"/>
              </a:ext>
            </a:extLst>
          </p:cNvPr>
          <p:cNvGrpSpPr/>
          <p:nvPr/>
        </p:nvGrpSpPr>
        <p:grpSpPr>
          <a:xfrm>
            <a:off x="9203891" y="2851515"/>
            <a:ext cx="502012" cy="285328"/>
            <a:chOff x="9203891" y="2851515"/>
            <a:chExt cx="502012" cy="285328"/>
          </a:xfrm>
        </p:grpSpPr>
        <p:sp>
          <p:nvSpPr>
            <p:cNvPr id="689" name="Freihandform 688">
              <a:extLst>
                <a:ext uri="{FF2B5EF4-FFF2-40B4-BE49-F238E27FC236}">
                  <a16:creationId xmlns:a16="http://schemas.microsoft.com/office/drawing/2014/main" id="{D44BE34E-50D1-5F2C-68AF-26F05CF79021}"/>
                </a:ext>
              </a:extLst>
            </p:cNvPr>
            <p:cNvSpPr/>
            <p:nvPr/>
          </p:nvSpPr>
          <p:spPr>
            <a:xfrm>
              <a:off x="9203891" y="3109046"/>
              <a:ext cx="373436" cy="27797"/>
            </a:xfrm>
            <a:custGeom>
              <a:avLst/>
              <a:gdLst>
                <a:gd name="connsiteX0" fmla="*/ 336948 w 373436"/>
                <a:gd name="connsiteY0" fmla="*/ 0 h 27797"/>
                <a:gd name="connsiteX1" fmla="*/ 36479 w 373436"/>
                <a:gd name="connsiteY1" fmla="*/ 0 h 27797"/>
                <a:gd name="connsiteX2" fmla="*/ 15969 w 373436"/>
                <a:gd name="connsiteY2" fmla="*/ 6573 h 27797"/>
                <a:gd name="connsiteX3" fmla="*/ 2688 w 373436"/>
                <a:gd name="connsiteY3" fmla="*/ 15700 h 27797"/>
                <a:gd name="connsiteX4" fmla="*/ 5202 w 373436"/>
                <a:gd name="connsiteY4" fmla="*/ 27797 h 27797"/>
                <a:gd name="connsiteX5" fmla="*/ 368238 w 373436"/>
                <a:gd name="connsiteY5" fmla="*/ 27797 h 27797"/>
                <a:gd name="connsiteX6" fmla="*/ 370752 w 373436"/>
                <a:gd name="connsiteY6" fmla="*/ 15700 h 27797"/>
                <a:gd name="connsiteX7" fmla="*/ 357471 w 373436"/>
                <a:gd name="connsiteY7" fmla="*/ 6573 h 27797"/>
                <a:gd name="connsiteX8" fmla="*/ 336961 w 373436"/>
                <a:gd name="connsiteY8" fmla="*/ 0 h 2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3436" h="27797">
                  <a:moveTo>
                    <a:pt x="336948" y="0"/>
                  </a:moveTo>
                  <a:lnTo>
                    <a:pt x="36479" y="0"/>
                  </a:lnTo>
                  <a:cubicBezTo>
                    <a:pt x="29300" y="0"/>
                    <a:pt x="22249" y="2263"/>
                    <a:pt x="15969" y="6573"/>
                  </a:cubicBezTo>
                  <a:lnTo>
                    <a:pt x="2688" y="15700"/>
                  </a:lnTo>
                  <a:cubicBezTo>
                    <a:pt x="-2001" y="18923"/>
                    <a:pt x="-169" y="27797"/>
                    <a:pt x="5202" y="27797"/>
                  </a:cubicBezTo>
                  <a:lnTo>
                    <a:pt x="368238" y="27797"/>
                  </a:lnTo>
                  <a:cubicBezTo>
                    <a:pt x="373596" y="27797"/>
                    <a:pt x="375441" y="18923"/>
                    <a:pt x="370752" y="15700"/>
                  </a:cubicBezTo>
                  <a:lnTo>
                    <a:pt x="357471" y="6573"/>
                  </a:lnTo>
                  <a:cubicBezTo>
                    <a:pt x="351190" y="2263"/>
                    <a:pt x="344138" y="0"/>
                    <a:pt x="336961" y="0"/>
                  </a:cubicBezTo>
                  <a:close/>
                </a:path>
              </a:pathLst>
            </a:custGeom>
            <a:solidFill>
              <a:srgbClr val="6CB4A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90" name="Grafik 5">
              <a:extLst>
                <a:ext uri="{FF2B5EF4-FFF2-40B4-BE49-F238E27FC236}">
                  <a16:creationId xmlns:a16="http://schemas.microsoft.com/office/drawing/2014/main" id="{0F032598-7233-FEC5-9A19-E1B67499F38F}"/>
                </a:ext>
              </a:extLst>
            </p:cNvPr>
            <p:cNvGrpSpPr/>
            <p:nvPr/>
          </p:nvGrpSpPr>
          <p:grpSpPr>
            <a:xfrm>
              <a:off x="9251099" y="2851515"/>
              <a:ext cx="454805" cy="271423"/>
              <a:chOff x="9251099" y="2851515"/>
              <a:chExt cx="454805" cy="271423"/>
            </a:xfrm>
          </p:grpSpPr>
          <p:grpSp>
            <p:nvGrpSpPr>
              <p:cNvPr id="691" name="Grafik 5">
                <a:extLst>
                  <a:ext uri="{FF2B5EF4-FFF2-40B4-BE49-F238E27FC236}">
                    <a16:creationId xmlns:a16="http://schemas.microsoft.com/office/drawing/2014/main" id="{913DDF81-EC5F-7247-FFA3-EACAE34744E1}"/>
                  </a:ext>
                </a:extLst>
              </p:cNvPr>
              <p:cNvGrpSpPr/>
              <p:nvPr/>
            </p:nvGrpSpPr>
            <p:grpSpPr>
              <a:xfrm>
                <a:off x="9251099" y="2938977"/>
                <a:ext cx="274589" cy="183961"/>
                <a:chOff x="9251099" y="2938977"/>
                <a:chExt cx="274589" cy="183961"/>
              </a:xfrm>
            </p:grpSpPr>
            <p:sp>
              <p:nvSpPr>
                <p:cNvPr id="692" name="Freihandform 691">
                  <a:extLst>
                    <a:ext uri="{FF2B5EF4-FFF2-40B4-BE49-F238E27FC236}">
                      <a16:creationId xmlns:a16="http://schemas.microsoft.com/office/drawing/2014/main" id="{518545A9-1E2E-CC61-306E-D8C6620F7738}"/>
                    </a:ext>
                  </a:extLst>
                </p:cNvPr>
                <p:cNvSpPr/>
                <p:nvPr/>
              </p:nvSpPr>
              <p:spPr>
                <a:xfrm>
                  <a:off x="9251099" y="3062250"/>
                  <a:ext cx="274589" cy="60688"/>
                </a:xfrm>
                <a:custGeom>
                  <a:avLst/>
                  <a:gdLst>
                    <a:gd name="connsiteX0" fmla="*/ 266135 w 274589"/>
                    <a:gd name="connsiteY0" fmla="*/ 0 h 60688"/>
                    <a:gd name="connsiteX1" fmla="*/ 274590 w 274589"/>
                    <a:gd name="connsiteY1" fmla="*/ 8457 h 60688"/>
                    <a:gd name="connsiteX2" fmla="*/ 274590 w 274589"/>
                    <a:gd name="connsiteY2" fmla="*/ 52232 h 60688"/>
                    <a:gd name="connsiteX3" fmla="*/ 266135 w 274589"/>
                    <a:gd name="connsiteY3" fmla="*/ 60689 h 60688"/>
                    <a:gd name="connsiteX4" fmla="*/ 8455 w 274589"/>
                    <a:gd name="connsiteY4" fmla="*/ 60689 h 60688"/>
                    <a:gd name="connsiteX5" fmla="*/ 0 w 274589"/>
                    <a:gd name="connsiteY5" fmla="*/ 52232 h 60688"/>
                    <a:gd name="connsiteX6" fmla="*/ 0 w 274589"/>
                    <a:gd name="connsiteY6" fmla="*/ 8457 h 60688"/>
                    <a:gd name="connsiteX7" fmla="*/ 8455 w 274589"/>
                    <a:gd name="connsiteY7" fmla="*/ 0 h 60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74589" h="60688">
                      <a:moveTo>
                        <a:pt x="266135" y="0"/>
                      </a:moveTo>
                      <a:cubicBezTo>
                        <a:pt x="270805" y="0"/>
                        <a:pt x="274590" y="3786"/>
                        <a:pt x="274590" y="8457"/>
                      </a:cubicBezTo>
                      <a:lnTo>
                        <a:pt x="274590" y="52232"/>
                      </a:lnTo>
                      <a:cubicBezTo>
                        <a:pt x="274590" y="56902"/>
                        <a:pt x="270805" y="60689"/>
                        <a:pt x="266135" y="60689"/>
                      </a:cubicBezTo>
                      <a:lnTo>
                        <a:pt x="8455" y="60689"/>
                      </a:lnTo>
                      <a:cubicBezTo>
                        <a:pt x="3785" y="60689"/>
                        <a:pt x="0" y="56903"/>
                        <a:pt x="0" y="52232"/>
                      </a:cubicBezTo>
                      <a:lnTo>
                        <a:pt x="0" y="8457"/>
                      </a:lnTo>
                      <a:cubicBezTo>
                        <a:pt x="0" y="3786"/>
                        <a:pt x="3785" y="0"/>
                        <a:pt x="8455" y="0"/>
                      </a:cubicBezTo>
                      <a:close/>
                    </a:path>
                  </a:pathLst>
                </a:custGeom>
                <a:solidFill>
                  <a:srgbClr val="0A8276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3" name="Freihandform 692">
                  <a:extLst>
                    <a:ext uri="{FF2B5EF4-FFF2-40B4-BE49-F238E27FC236}">
                      <a16:creationId xmlns:a16="http://schemas.microsoft.com/office/drawing/2014/main" id="{F09C5645-0D99-2879-8C3F-60A65A35F38C}"/>
                    </a:ext>
                  </a:extLst>
                </p:cNvPr>
                <p:cNvSpPr/>
                <p:nvPr/>
              </p:nvSpPr>
              <p:spPr>
                <a:xfrm>
                  <a:off x="9263900" y="3080073"/>
                  <a:ext cx="248973" cy="21110"/>
                </a:xfrm>
                <a:custGeom>
                  <a:avLst/>
                  <a:gdLst>
                    <a:gd name="connsiteX0" fmla="*/ 245903 w 248973"/>
                    <a:gd name="connsiteY0" fmla="*/ 0 h 21110"/>
                    <a:gd name="connsiteX1" fmla="*/ 248974 w 248973"/>
                    <a:gd name="connsiteY1" fmla="*/ 3072 h 21110"/>
                    <a:gd name="connsiteX2" fmla="*/ 248974 w 248973"/>
                    <a:gd name="connsiteY2" fmla="*/ 18039 h 21110"/>
                    <a:gd name="connsiteX3" fmla="*/ 245903 w 248973"/>
                    <a:gd name="connsiteY3" fmla="*/ 21110 h 21110"/>
                    <a:gd name="connsiteX4" fmla="*/ 3071 w 248973"/>
                    <a:gd name="connsiteY4" fmla="*/ 21110 h 21110"/>
                    <a:gd name="connsiteX5" fmla="*/ 0 w 248973"/>
                    <a:gd name="connsiteY5" fmla="*/ 18039 h 21110"/>
                    <a:gd name="connsiteX6" fmla="*/ 0 w 248973"/>
                    <a:gd name="connsiteY6" fmla="*/ 3072 h 21110"/>
                    <a:gd name="connsiteX7" fmla="*/ 3071 w 248973"/>
                    <a:gd name="connsiteY7" fmla="*/ 0 h 21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48973" h="21110">
                      <a:moveTo>
                        <a:pt x="245903" y="0"/>
                      </a:moveTo>
                      <a:cubicBezTo>
                        <a:pt x="247599" y="0"/>
                        <a:pt x="248974" y="1375"/>
                        <a:pt x="248974" y="3072"/>
                      </a:cubicBezTo>
                      <a:lnTo>
                        <a:pt x="248974" y="18039"/>
                      </a:lnTo>
                      <a:cubicBezTo>
                        <a:pt x="248974" y="19735"/>
                        <a:pt x="247599" y="21110"/>
                        <a:pt x="245903" y="21110"/>
                      </a:cubicBezTo>
                      <a:lnTo>
                        <a:pt x="3071" y="21110"/>
                      </a:lnTo>
                      <a:cubicBezTo>
                        <a:pt x="1375" y="21110"/>
                        <a:pt x="0" y="19735"/>
                        <a:pt x="0" y="18039"/>
                      </a:cubicBezTo>
                      <a:lnTo>
                        <a:pt x="0" y="3072"/>
                      </a:lnTo>
                      <a:cubicBezTo>
                        <a:pt x="0" y="1375"/>
                        <a:pt x="1375" y="0"/>
                        <a:pt x="3071" y="0"/>
                      </a:cubicBezTo>
                      <a:close/>
                    </a:path>
                  </a:pathLst>
                </a:custGeom>
                <a:solidFill>
                  <a:srgbClr val="3B9B9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4" name="Freihandform 693">
                  <a:extLst>
                    <a:ext uri="{FF2B5EF4-FFF2-40B4-BE49-F238E27FC236}">
                      <a16:creationId xmlns:a16="http://schemas.microsoft.com/office/drawing/2014/main" id="{AB25C76C-F099-66D7-6BA9-3C139B58A7CB}"/>
                    </a:ext>
                  </a:extLst>
                </p:cNvPr>
                <p:cNvSpPr/>
                <p:nvPr/>
              </p:nvSpPr>
              <p:spPr>
                <a:xfrm>
                  <a:off x="9277257" y="2938977"/>
                  <a:ext cx="13370" cy="123273"/>
                </a:xfrm>
                <a:custGeom>
                  <a:avLst/>
                  <a:gdLst>
                    <a:gd name="connsiteX0" fmla="*/ 9958 w 13370"/>
                    <a:gd name="connsiteY0" fmla="*/ 64177 h 123273"/>
                    <a:gd name="connsiteX1" fmla="*/ 9958 w 13370"/>
                    <a:gd name="connsiteY1" fmla="*/ 3274 h 123273"/>
                    <a:gd name="connsiteX2" fmla="*/ 6686 w 13370"/>
                    <a:gd name="connsiteY2" fmla="*/ 0 h 123273"/>
                    <a:gd name="connsiteX3" fmla="*/ 3412 w 13370"/>
                    <a:gd name="connsiteY3" fmla="*/ 3274 h 123273"/>
                    <a:gd name="connsiteX4" fmla="*/ 3412 w 13370"/>
                    <a:gd name="connsiteY4" fmla="*/ 64177 h 123273"/>
                    <a:gd name="connsiteX5" fmla="*/ 0 w 13370"/>
                    <a:gd name="connsiteY5" fmla="*/ 73001 h 123273"/>
                    <a:gd name="connsiteX6" fmla="*/ 0 w 13370"/>
                    <a:gd name="connsiteY6" fmla="*/ 123273 h 123273"/>
                    <a:gd name="connsiteX7" fmla="*/ 13370 w 13370"/>
                    <a:gd name="connsiteY7" fmla="*/ 123273 h 123273"/>
                    <a:gd name="connsiteX8" fmla="*/ 13370 w 13370"/>
                    <a:gd name="connsiteY8" fmla="*/ 73001 h 123273"/>
                    <a:gd name="connsiteX9" fmla="*/ 9958 w 13370"/>
                    <a:gd name="connsiteY9" fmla="*/ 64177 h 1232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370" h="123273">
                      <a:moveTo>
                        <a:pt x="9958" y="64177"/>
                      </a:moveTo>
                      <a:lnTo>
                        <a:pt x="9958" y="3274"/>
                      </a:lnTo>
                      <a:cubicBezTo>
                        <a:pt x="9958" y="1466"/>
                        <a:pt x="8493" y="0"/>
                        <a:pt x="6686" y="0"/>
                      </a:cubicBezTo>
                      <a:cubicBezTo>
                        <a:pt x="4878" y="0"/>
                        <a:pt x="3412" y="1466"/>
                        <a:pt x="3412" y="3274"/>
                      </a:cubicBezTo>
                      <a:lnTo>
                        <a:pt x="3412" y="64177"/>
                      </a:lnTo>
                      <a:lnTo>
                        <a:pt x="0" y="73001"/>
                      </a:lnTo>
                      <a:lnTo>
                        <a:pt x="0" y="123273"/>
                      </a:lnTo>
                      <a:lnTo>
                        <a:pt x="13370" y="123273"/>
                      </a:lnTo>
                      <a:lnTo>
                        <a:pt x="13370" y="73001"/>
                      </a:lnTo>
                      <a:lnTo>
                        <a:pt x="9958" y="64177"/>
                      </a:lnTo>
                      <a:close/>
                    </a:path>
                  </a:pathLst>
                </a:custGeom>
                <a:solidFill>
                  <a:srgbClr val="06534B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5" name="Freihandform 694">
                  <a:extLst>
                    <a:ext uri="{FF2B5EF4-FFF2-40B4-BE49-F238E27FC236}">
                      <a16:creationId xmlns:a16="http://schemas.microsoft.com/office/drawing/2014/main" id="{C38D5610-EF40-2D02-EA3C-8A093A9BBAEC}"/>
                    </a:ext>
                  </a:extLst>
                </p:cNvPr>
                <p:cNvSpPr/>
                <p:nvPr/>
              </p:nvSpPr>
              <p:spPr>
                <a:xfrm>
                  <a:off x="9486147" y="2938977"/>
                  <a:ext cx="13369" cy="123273"/>
                </a:xfrm>
                <a:custGeom>
                  <a:avLst/>
                  <a:gdLst>
                    <a:gd name="connsiteX0" fmla="*/ 9958 w 13369"/>
                    <a:gd name="connsiteY0" fmla="*/ 64177 h 123273"/>
                    <a:gd name="connsiteX1" fmla="*/ 9958 w 13369"/>
                    <a:gd name="connsiteY1" fmla="*/ 3274 h 123273"/>
                    <a:gd name="connsiteX2" fmla="*/ 6685 w 13369"/>
                    <a:gd name="connsiteY2" fmla="*/ 0 h 123273"/>
                    <a:gd name="connsiteX3" fmla="*/ 3412 w 13369"/>
                    <a:gd name="connsiteY3" fmla="*/ 3274 h 123273"/>
                    <a:gd name="connsiteX4" fmla="*/ 3412 w 13369"/>
                    <a:gd name="connsiteY4" fmla="*/ 64177 h 123273"/>
                    <a:gd name="connsiteX5" fmla="*/ 0 w 13369"/>
                    <a:gd name="connsiteY5" fmla="*/ 73001 h 123273"/>
                    <a:gd name="connsiteX6" fmla="*/ 0 w 13369"/>
                    <a:gd name="connsiteY6" fmla="*/ 123273 h 123273"/>
                    <a:gd name="connsiteX7" fmla="*/ 13370 w 13369"/>
                    <a:gd name="connsiteY7" fmla="*/ 123273 h 123273"/>
                    <a:gd name="connsiteX8" fmla="*/ 13370 w 13369"/>
                    <a:gd name="connsiteY8" fmla="*/ 73001 h 123273"/>
                    <a:gd name="connsiteX9" fmla="*/ 9958 w 13369"/>
                    <a:gd name="connsiteY9" fmla="*/ 64177 h 1232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369" h="123273">
                      <a:moveTo>
                        <a:pt x="9958" y="64177"/>
                      </a:moveTo>
                      <a:lnTo>
                        <a:pt x="9958" y="3274"/>
                      </a:lnTo>
                      <a:cubicBezTo>
                        <a:pt x="9958" y="1466"/>
                        <a:pt x="8492" y="0"/>
                        <a:pt x="6685" y="0"/>
                      </a:cubicBezTo>
                      <a:cubicBezTo>
                        <a:pt x="4878" y="0"/>
                        <a:pt x="3412" y="1466"/>
                        <a:pt x="3412" y="3274"/>
                      </a:cubicBezTo>
                      <a:lnTo>
                        <a:pt x="3412" y="64177"/>
                      </a:lnTo>
                      <a:lnTo>
                        <a:pt x="0" y="73001"/>
                      </a:lnTo>
                      <a:lnTo>
                        <a:pt x="0" y="123273"/>
                      </a:lnTo>
                      <a:lnTo>
                        <a:pt x="13370" y="123273"/>
                      </a:lnTo>
                      <a:lnTo>
                        <a:pt x="13370" y="73001"/>
                      </a:lnTo>
                      <a:lnTo>
                        <a:pt x="9958" y="64177"/>
                      </a:lnTo>
                      <a:close/>
                    </a:path>
                  </a:pathLst>
                </a:custGeom>
                <a:solidFill>
                  <a:srgbClr val="06534B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6" name="Freihandform 695">
                  <a:extLst>
                    <a:ext uri="{FF2B5EF4-FFF2-40B4-BE49-F238E27FC236}">
                      <a16:creationId xmlns:a16="http://schemas.microsoft.com/office/drawing/2014/main" id="{BD0AB1F5-994A-454C-7C4A-E79E300BCC18}"/>
                    </a:ext>
                  </a:extLst>
                </p:cNvPr>
                <p:cNvSpPr/>
                <p:nvPr/>
              </p:nvSpPr>
              <p:spPr>
                <a:xfrm>
                  <a:off x="9270358" y="3085787"/>
                  <a:ext cx="236071" cy="9670"/>
                </a:xfrm>
                <a:custGeom>
                  <a:avLst/>
                  <a:gdLst>
                    <a:gd name="connsiteX0" fmla="*/ 231245 w 236071"/>
                    <a:gd name="connsiteY0" fmla="*/ 0 h 9670"/>
                    <a:gd name="connsiteX1" fmla="*/ 236072 w 236071"/>
                    <a:gd name="connsiteY1" fmla="*/ 4829 h 9670"/>
                    <a:gd name="connsiteX2" fmla="*/ 236072 w 236071"/>
                    <a:gd name="connsiteY2" fmla="*/ 4842 h 9670"/>
                    <a:gd name="connsiteX3" fmla="*/ 231245 w 236071"/>
                    <a:gd name="connsiteY3" fmla="*/ 9670 h 9670"/>
                    <a:gd name="connsiteX4" fmla="*/ 4828 w 236071"/>
                    <a:gd name="connsiteY4" fmla="*/ 9670 h 9670"/>
                    <a:gd name="connsiteX5" fmla="*/ 0 w 236071"/>
                    <a:gd name="connsiteY5" fmla="*/ 4842 h 9670"/>
                    <a:gd name="connsiteX6" fmla="*/ 0 w 236071"/>
                    <a:gd name="connsiteY6" fmla="*/ 4829 h 9670"/>
                    <a:gd name="connsiteX7" fmla="*/ 4828 w 236071"/>
                    <a:gd name="connsiteY7" fmla="*/ 0 h 9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6071" h="9670">
                      <a:moveTo>
                        <a:pt x="231245" y="0"/>
                      </a:moveTo>
                      <a:cubicBezTo>
                        <a:pt x="233911" y="0"/>
                        <a:pt x="236072" y="2162"/>
                        <a:pt x="236072" y="4829"/>
                      </a:cubicBezTo>
                      <a:lnTo>
                        <a:pt x="236072" y="4842"/>
                      </a:lnTo>
                      <a:cubicBezTo>
                        <a:pt x="236072" y="7508"/>
                        <a:pt x="233911" y="9670"/>
                        <a:pt x="231245" y="9670"/>
                      </a:cubicBezTo>
                      <a:lnTo>
                        <a:pt x="4828" y="9670"/>
                      </a:lnTo>
                      <a:cubicBezTo>
                        <a:pt x="2161" y="9670"/>
                        <a:pt x="0" y="7509"/>
                        <a:pt x="0" y="4842"/>
                      </a:cubicBezTo>
                      <a:lnTo>
                        <a:pt x="0" y="4829"/>
                      </a:lnTo>
                      <a:cubicBezTo>
                        <a:pt x="0" y="2162"/>
                        <a:pt x="2161" y="0"/>
                        <a:pt x="4828" y="0"/>
                      </a:cubicBezTo>
                      <a:close/>
                    </a:path>
                  </a:pathLst>
                </a:custGeom>
                <a:solidFill>
                  <a:srgbClr val="08665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97" name="Grafik 5">
                  <a:extLst>
                    <a:ext uri="{FF2B5EF4-FFF2-40B4-BE49-F238E27FC236}">
                      <a16:creationId xmlns:a16="http://schemas.microsoft.com/office/drawing/2014/main" id="{85BD8FEE-0025-357A-BA86-29AD4E999305}"/>
                    </a:ext>
                  </a:extLst>
                </p:cNvPr>
                <p:cNvGrpSpPr/>
                <p:nvPr/>
              </p:nvGrpSpPr>
              <p:grpSpPr>
                <a:xfrm>
                  <a:off x="9277257" y="3088442"/>
                  <a:ext cx="222272" cy="4373"/>
                  <a:chOff x="9277257" y="3088442"/>
                  <a:chExt cx="222272" cy="4373"/>
                </a:xfrm>
                <a:solidFill>
                  <a:srgbClr val="B9D257"/>
                </a:solidFill>
              </p:grpSpPr>
              <p:sp>
                <p:nvSpPr>
                  <p:cNvPr id="698" name="Freihandform 697">
                    <a:extLst>
                      <a:ext uri="{FF2B5EF4-FFF2-40B4-BE49-F238E27FC236}">
                        <a16:creationId xmlns:a16="http://schemas.microsoft.com/office/drawing/2014/main" id="{67E52A73-7667-71AF-0628-ED19AEE0A2CF}"/>
                      </a:ext>
                    </a:extLst>
                  </p:cNvPr>
                  <p:cNvSpPr/>
                  <p:nvPr/>
                </p:nvSpPr>
                <p:spPr>
                  <a:xfrm>
                    <a:off x="9277257" y="3088442"/>
                    <a:ext cx="17653" cy="4373"/>
                  </a:xfrm>
                  <a:custGeom>
                    <a:avLst/>
                    <a:gdLst>
                      <a:gd name="connsiteX0" fmla="*/ 0 w 17653"/>
                      <a:gd name="connsiteY0" fmla="*/ 0 h 4373"/>
                      <a:gd name="connsiteX1" fmla="*/ 17653 w 17653"/>
                      <a:gd name="connsiteY1" fmla="*/ 0 h 4373"/>
                      <a:gd name="connsiteX2" fmla="*/ 17653 w 17653"/>
                      <a:gd name="connsiteY2" fmla="*/ 4374 h 4373"/>
                      <a:gd name="connsiteX3" fmla="*/ 0 w 17653"/>
                      <a:gd name="connsiteY3" fmla="*/ 4374 h 4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7653" h="4373">
                        <a:moveTo>
                          <a:pt x="0" y="0"/>
                        </a:moveTo>
                        <a:lnTo>
                          <a:pt x="17653" y="0"/>
                        </a:lnTo>
                        <a:lnTo>
                          <a:pt x="17653" y="4374"/>
                        </a:lnTo>
                        <a:lnTo>
                          <a:pt x="0" y="4374"/>
                        </a:lnTo>
                        <a:close/>
                      </a:path>
                    </a:pathLst>
                  </a:custGeom>
                  <a:solidFill>
                    <a:srgbClr val="B9D25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699" name="Grafik 5">
                    <a:extLst>
                      <a:ext uri="{FF2B5EF4-FFF2-40B4-BE49-F238E27FC236}">
                        <a16:creationId xmlns:a16="http://schemas.microsoft.com/office/drawing/2014/main" id="{A2E6D29A-03FA-B215-82B8-7916B116F2F9}"/>
                      </a:ext>
                    </a:extLst>
                  </p:cNvPr>
                  <p:cNvGrpSpPr/>
                  <p:nvPr/>
                </p:nvGrpSpPr>
                <p:grpSpPr>
                  <a:xfrm>
                    <a:off x="9413042" y="3088442"/>
                    <a:ext cx="86487" cy="4373"/>
                    <a:chOff x="9413042" y="3088442"/>
                    <a:chExt cx="86487" cy="4373"/>
                  </a:xfrm>
                  <a:solidFill>
                    <a:srgbClr val="B9D257"/>
                  </a:solidFill>
                </p:grpSpPr>
                <p:sp>
                  <p:nvSpPr>
                    <p:cNvPr id="700" name="Freihandform 699">
                      <a:extLst>
                        <a:ext uri="{FF2B5EF4-FFF2-40B4-BE49-F238E27FC236}">
                          <a16:creationId xmlns:a16="http://schemas.microsoft.com/office/drawing/2014/main" id="{453035CC-D80F-7D1C-ECD0-4480FBB751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413042" y="3088442"/>
                      <a:ext cx="7405" cy="4373"/>
                    </a:xfrm>
                    <a:custGeom>
                      <a:avLst/>
                      <a:gdLst>
                        <a:gd name="connsiteX0" fmla="*/ 0 w 7405"/>
                        <a:gd name="connsiteY0" fmla="*/ 0 h 4373"/>
                        <a:gd name="connsiteX1" fmla="*/ 7406 w 7405"/>
                        <a:gd name="connsiteY1" fmla="*/ 0 h 4373"/>
                        <a:gd name="connsiteX2" fmla="*/ 7406 w 7405"/>
                        <a:gd name="connsiteY2" fmla="*/ 4374 h 4373"/>
                        <a:gd name="connsiteX3" fmla="*/ 0 w 7405"/>
                        <a:gd name="connsiteY3" fmla="*/ 4374 h 4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7405" h="4373">
                          <a:moveTo>
                            <a:pt x="0" y="0"/>
                          </a:moveTo>
                          <a:lnTo>
                            <a:pt x="7406" y="0"/>
                          </a:lnTo>
                          <a:lnTo>
                            <a:pt x="7406" y="4374"/>
                          </a:lnTo>
                          <a:lnTo>
                            <a:pt x="0" y="4374"/>
                          </a:lnTo>
                          <a:close/>
                        </a:path>
                      </a:pathLst>
                    </a:custGeom>
                    <a:solidFill>
                      <a:srgbClr val="B9D257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01" name="Freihandform 700">
                      <a:extLst>
                        <a:ext uri="{FF2B5EF4-FFF2-40B4-BE49-F238E27FC236}">
                          <a16:creationId xmlns:a16="http://schemas.microsoft.com/office/drawing/2014/main" id="{34731A5D-8EF1-F053-03BF-CA05FA02BC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428851" y="3088442"/>
                      <a:ext cx="7405" cy="4373"/>
                    </a:xfrm>
                    <a:custGeom>
                      <a:avLst/>
                      <a:gdLst>
                        <a:gd name="connsiteX0" fmla="*/ 0 w 7405"/>
                        <a:gd name="connsiteY0" fmla="*/ 0 h 4373"/>
                        <a:gd name="connsiteX1" fmla="*/ 7405 w 7405"/>
                        <a:gd name="connsiteY1" fmla="*/ 0 h 4373"/>
                        <a:gd name="connsiteX2" fmla="*/ 7405 w 7405"/>
                        <a:gd name="connsiteY2" fmla="*/ 4374 h 4373"/>
                        <a:gd name="connsiteX3" fmla="*/ 0 w 7405"/>
                        <a:gd name="connsiteY3" fmla="*/ 4374 h 4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7405" h="4373">
                          <a:moveTo>
                            <a:pt x="0" y="0"/>
                          </a:moveTo>
                          <a:lnTo>
                            <a:pt x="7405" y="0"/>
                          </a:lnTo>
                          <a:lnTo>
                            <a:pt x="7405" y="4374"/>
                          </a:lnTo>
                          <a:lnTo>
                            <a:pt x="0" y="4374"/>
                          </a:lnTo>
                          <a:close/>
                        </a:path>
                      </a:pathLst>
                    </a:custGeom>
                    <a:solidFill>
                      <a:srgbClr val="B9D257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02" name="Freihandform 701">
                      <a:extLst>
                        <a:ext uri="{FF2B5EF4-FFF2-40B4-BE49-F238E27FC236}">
                          <a16:creationId xmlns:a16="http://schemas.microsoft.com/office/drawing/2014/main" id="{7CE460E6-F02D-CA53-0C63-6CACF228C6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444672" y="3088442"/>
                      <a:ext cx="7405" cy="4373"/>
                    </a:xfrm>
                    <a:custGeom>
                      <a:avLst/>
                      <a:gdLst>
                        <a:gd name="connsiteX0" fmla="*/ 0 w 7405"/>
                        <a:gd name="connsiteY0" fmla="*/ 0 h 4373"/>
                        <a:gd name="connsiteX1" fmla="*/ 7405 w 7405"/>
                        <a:gd name="connsiteY1" fmla="*/ 0 h 4373"/>
                        <a:gd name="connsiteX2" fmla="*/ 7405 w 7405"/>
                        <a:gd name="connsiteY2" fmla="*/ 4374 h 4373"/>
                        <a:gd name="connsiteX3" fmla="*/ 0 w 7405"/>
                        <a:gd name="connsiteY3" fmla="*/ 4374 h 4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7405" h="4373">
                          <a:moveTo>
                            <a:pt x="0" y="0"/>
                          </a:moveTo>
                          <a:lnTo>
                            <a:pt x="7405" y="0"/>
                          </a:lnTo>
                          <a:lnTo>
                            <a:pt x="7405" y="4374"/>
                          </a:lnTo>
                          <a:lnTo>
                            <a:pt x="0" y="4374"/>
                          </a:lnTo>
                          <a:close/>
                        </a:path>
                      </a:pathLst>
                    </a:custGeom>
                    <a:solidFill>
                      <a:srgbClr val="B9D257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03" name="Freihandform 702">
                      <a:extLst>
                        <a:ext uri="{FF2B5EF4-FFF2-40B4-BE49-F238E27FC236}">
                          <a16:creationId xmlns:a16="http://schemas.microsoft.com/office/drawing/2014/main" id="{A993B913-FC7B-160E-8B70-E6016366FC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460494" y="3088442"/>
                      <a:ext cx="7405" cy="4373"/>
                    </a:xfrm>
                    <a:custGeom>
                      <a:avLst/>
                      <a:gdLst>
                        <a:gd name="connsiteX0" fmla="*/ 0 w 7405"/>
                        <a:gd name="connsiteY0" fmla="*/ 0 h 4373"/>
                        <a:gd name="connsiteX1" fmla="*/ 7405 w 7405"/>
                        <a:gd name="connsiteY1" fmla="*/ 0 h 4373"/>
                        <a:gd name="connsiteX2" fmla="*/ 7405 w 7405"/>
                        <a:gd name="connsiteY2" fmla="*/ 4374 h 4373"/>
                        <a:gd name="connsiteX3" fmla="*/ 0 w 7405"/>
                        <a:gd name="connsiteY3" fmla="*/ 4374 h 4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7405" h="4373">
                          <a:moveTo>
                            <a:pt x="0" y="0"/>
                          </a:moveTo>
                          <a:lnTo>
                            <a:pt x="7405" y="0"/>
                          </a:lnTo>
                          <a:lnTo>
                            <a:pt x="7405" y="4374"/>
                          </a:lnTo>
                          <a:lnTo>
                            <a:pt x="0" y="4374"/>
                          </a:lnTo>
                          <a:close/>
                        </a:path>
                      </a:pathLst>
                    </a:custGeom>
                    <a:solidFill>
                      <a:srgbClr val="B9D257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04" name="Freihandform 703">
                      <a:extLst>
                        <a:ext uri="{FF2B5EF4-FFF2-40B4-BE49-F238E27FC236}">
                          <a16:creationId xmlns:a16="http://schemas.microsoft.com/office/drawing/2014/main" id="{959CC17C-F48C-4615-7CE6-5A1570F11B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476303" y="3088442"/>
                      <a:ext cx="7405" cy="4373"/>
                    </a:xfrm>
                    <a:custGeom>
                      <a:avLst/>
                      <a:gdLst>
                        <a:gd name="connsiteX0" fmla="*/ 0 w 7405"/>
                        <a:gd name="connsiteY0" fmla="*/ 0 h 4373"/>
                        <a:gd name="connsiteX1" fmla="*/ 7405 w 7405"/>
                        <a:gd name="connsiteY1" fmla="*/ 0 h 4373"/>
                        <a:gd name="connsiteX2" fmla="*/ 7405 w 7405"/>
                        <a:gd name="connsiteY2" fmla="*/ 4374 h 4373"/>
                        <a:gd name="connsiteX3" fmla="*/ 0 w 7405"/>
                        <a:gd name="connsiteY3" fmla="*/ 4374 h 4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7405" h="4373">
                          <a:moveTo>
                            <a:pt x="0" y="0"/>
                          </a:moveTo>
                          <a:lnTo>
                            <a:pt x="7405" y="0"/>
                          </a:lnTo>
                          <a:lnTo>
                            <a:pt x="7405" y="4374"/>
                          </a:lnTo>
                          <a:lnTo>
                            <a:pt x="0" y="4374"/>
                          </a:lnTo>
                          <a:close/>
                        </a:path>
                      </a:pathLst>
                    </a:custGeom>
                    <a:solidFill>
                      <a:srgbClr val="B9D257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05" name="Freihandform 704">
                      <a:extLst>
                        <a:ext uri="{FF2B5EF4-FFF2-40B4-BE49-F238E27FC236}">
                          <a16:creationId xmlns:a16="http://schemas.microsoft.com/office/drawing/2014/main" id="{931F4AAB-B96A-BEBA-53AC-CDA54228C1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492124" y="3088442"/>
                      <a:ext cx="7405" cy="4373"/>
                    </a:xfrm>
                    <a:custGeom>
                      <a:avLst/>
                      <a:gdLst>
                        <a:gd name="connsiteX0" fmla="*/ 0 w 7405"/>
                        <a:gd name="connsiteY0" fmla="*/ 0 h 4373"/>
                        <a:gd name="connsiteX1" fmla="*/ 7406 w 7405"/>
                        <a:gd name="connsiteY1" fmla="*/ 0 h 4373"/>
                        <a:gd name="connsiteX2" fmla="*/ 7406 w 7405"/>
                        <a:gd name="connsiteY2" fmla="*/ 4374 h 4373"/>
                        <a:gd name="connsiteX3" fmla="*/ 0 w 7405"/>
                        <a:gd name="connsiteY3" fmla="*/ 4374 h 4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7405" h="4373">
                          <a:moveTo>
                            <a:pt x="0" y="0"/>
                          </a:moveTo>
                          <a:lnTo>
                            <a:pt x="7406" y="0"/>
                          </a:lnTo>
                          <a:lnTo>
                            <a:pt x="7406" y="4374"/>
                          </a:lnTo>
                          <a:lnTo>
                            <a:pt x="0" y="4374"/>
                          </a:lnTo>
                          <a:close/>
                        </a:path>
                      </a:pathLst>
                    </a:custGeom>
                    <a:solidFill>
                      <a:srgbClr val="B9D257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</p:grpSp>
          <p:grpSp>
            <p:nvGrpSpPr>
              <p:cNvPr id="706" name="Grafik 5">
                <a:extLst>
                  <a:ext uri="{FF2B5EF4-FFF2-40B4-BE49-F238E27FC236}">
                    <a16:creationId xmlns:a16="http://schemas.microsoft.com/office/drawing/2014/main" id="{13C1D365-522A-8E8D-E158-032C739D850D}"/>
                  </a:ext>
                </a:extLst>
              </p:cNvPr>
              <p:cNvGrpSpPr/>
              <p:nvPr/>
            </p:nvGrpSpPr>
            <p:grpSpPr>
              <a:xfrm>
                <a:off x="9539121" y="2851515"/>
                <a:ext cx="166782" cy="185655"/>
                <a:chOff x="9539121" y="2851515"/>
                <a:chExt cx="166782" cy="185655"/>
              </a:xfrm>
            </p:grpSpPr>
            <p:sp>
              <p:nvSpPr>
                <p:cNvPr id="707" name="Freihandform 706">
                  <a:extLst>
                    <a:ext uri="{FF2B5EF4-FFF2-40B4-BE49-F238E27FC236}">
                      <a16:creationId xmlns:a16="http://schemas.microsoft.com/office/drawing/2014/main" id="{589AFCB2-2CB5-DDFE-F20F-05D64163F56B}"/>
                    </a:ext>
                  </a:extLst>
                </p:cNvPr>
                <p:cNvSpPr/>
                <p:nvPr/>
              </p:nvSpPr>
              <p:spPr>
                <a:xfrm>
                  <a:off x="9539121" y="2851515"/>
                  <a:ext cx="166782" cy="185655"/>
                </a:xfrm>
                <a:custGeom>
                  <a:avLst/>
                  <a:gdLst>
                    <a:gd name="connsiteX0" fmla="*/ 83391 w 166782"/>
                    <a:gd name="connsiteY0" fmla="*/ 0 h 185655"/>
                    <a:gd name="connsiteX1" fmla="*/ 130236 w 166782"/>
                    <a:gd name="connsiteY1" fmla="*/ 11301 h 185655"/>
                    <a:gd name="connsiteX2" fmla="*/ 166783 w 166782"/>
                    <a:gd name="connsiteY2" fmla="*/ 20984 h 185655"/>
                    <a:gd name="connsiteX3" fmla="*/ 154285 w 166782"/>
                    <a:gd name="connsiteY3" fmla="*/ 104438 h 185655"/>
                    <a:gd name="connsiteX4" fmla="*/ 83391 w 166782"/>
                    <a:gd name="connsiteY4" fmla="*/ 185656 h 185655"/>
                    <a:gd name="connsiteX5" fmla="*/ 12497 w 166782"/>
                    <a:gd name="connsiteY5" fmla="*/ 104438 h 185655"/>
                    <a:gd name="connsiteX6" fmla="*/ 0 w 166782"/>
                    <a:gd name="connsiteY6" fmla="*/ 20984 h 185655"/>
                    <a:gd name="connsiteX7" fmla="*/ 36546 w 166782"/>
                    <a:gd name="connsiteY7" fmla="*/ 11301 h 185655"/>
                    <a:gd name="connsiteX8" fmla="*/ 83391 w 166782"/>
                    <a:gd name="connsiteY8" fmla="*/ 0 h 1856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6782" h="185655">
                      <a:moveTo>
                        <a:pt x="83391" y="0"/>
                      </a:moveTo>
                      <a:cubicBezTo>
                        <a:pt x="88143" y="1011"/>
                        <a:pt x="103421" y="4386"/>
                        <a:pt x="130236" y="11301"/>
                      </a:cubicBezTo>
                      <a:cubicBezTo>
                        <a:pt x="149015" y="16142"/>
                        <a:pt x="160566" y="19265"/>
                        <a:pt x="166783" y="20984"/>
                      </a:cubicBezTo>
                      <a:cubicBezTo>
                        <a:pt x="166530" y="32651"/>
                        <a:pt x="164736" y="61472"/>
                        <a:pt x="154285" y="104438"/>
                      </a:cubicBezTo>
                      <a:cubicBezTo>
                        <a:pt x="144138" y="146204"/>
                        <a:pt x="107515" y="170638"/>
                        <a:pt x="83391" y="185656"/>
                      </a:cubicBezTo>
                      <a:cubicBezTo>
                        <a:pt x="59268" y="170626"/>
                        <a:pt x="22645" y="146191"/>
                        <a:pt x="12497" y="104438"/>
                      </a:cubicBezTo>
                      <a:cubicBezTo>
                        <a:pt x="2059" y="61460"/>
                        <a:pt x="252" y="32639"/>
                        <a:pt x="0" y="20984"/>
                      </a:cubicBezTo>
                      <a:cubicBezTo>
                        <a:pt x="6217" y="19265"/>
                        <a:pt x="17768" y="16142"/>
                        <a:pt x="36546" y="11301"/>
                      </a:cubicBezTo>
                      <a:cubicBezTo>
                        <a:pt x="63374" y="4386"/>
                        <a:pt x="78640" y="1011"/>
                        <a:pt x="83391" y="0"/>
                      </a:cubicBezTo>
                    </a:path>
                  </a:pathLst>
                </a:custGeom>
                <a:solidFill>
                  <a:srgbClr val="9BBA4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8" name="Freihandform 707">
                  <a:extLst>
                    <a:ext uri="{FF2B5EF4-FFF2-40B4-BE49-F238E27FC236}">
                      <a16:creationId xmlns:a16="http://schemas.microsoft.com/office/drawing/2014/main" id="{AA923156-D082-4E4D-08B6-40C7612AF9BA}"/>
                    </a:ext>
                  </a:extLst>
                </p:cNvPr>
                <p:cNvSpPr/>
                <p:nvPr/>
              </p:nvSpPr>
              <p:spPr>
                <a:xfrm>
                  <a:off x="9580343" y="2902217"/>
                  <a:ext cx="93008" cy="72163"/>
                </a:xfrm>
                <a:custGeom>
                  <a:avLst/>
                  <a:gdLst>
                    <a:gd name="connsiteX0" fmla="*/ 33235 w 93008"/>
                    <a:gd name="connsiteY0" fmla="*/ 45229 h 72163"/>
                    <a:gd name="connsiteX1" fmla="*/ 34726 w 93008"/>
                    <a:gd name="connsiteY1" fmla="*/ 43801 h 72163"/>
                    <a:gd name="connsiteX2" fmla="*/ 77705 w 93008"/>
                    <a:gd name="connsiteY2" fmla="*/ 784 h 72163"/>
                    <a:gd name="connsiteX3" fmla="*/ 80750 w 93008"/>
                    <a:gd name="connsiteY3" fmla="*/ 733 h 72163"/>
                    <a:gd name="connsiteX4" fmla="*/ 92073 w 93008"/>
                    <a:gd name="connsiteY4" fmla="*/ 11895 h 72163"/>
                    <a:gd name="connsiteX5" fmla="*/ 93008 w 93008"/>
                    <a:gd name="connsiteY5" fmla="*/ 12982 h 72163"/>
                    <a:gd name="connsiteX6" fmla="*/ 91669 w 93008"/>
                    <a:gd name="connsiteY6" fmla="*/ 14449 h 72163"/>
                    <a:gd name="connsiteX7" fmla="*/ 34789 w 93008"/>
                    <a:gd name="connsiteY7" fmla="*/ 71383 h 72163"/>
                    <a:gd name="connsiteX8" fmla="*/ 31630 w 93008"/>
                    <a:gd name="connsiteY8" fmla="*/ 71370 h 72163"/>
                    <a:gd name="connsiteX9" fmla="*/ 884 w 93008"/>
                    <a:gd name="connsiteY9" fmla="*/ 40931 h 72163"/>
                    <a:gd name="connsiteX10" fmla="*/ 834 w 93008"/>
                    <a:gd name="connsiteY10" fmla="*/ 38074 h 72163"/>
                    <a:gd name="connsiteX11" fmla="*/ 12182 w 93008"/>
                    <a:gd name="connsiteY11" fmla="*/ 26938 h 72163"/>
                    <a:gd name="connsiteX12" fmla="*/ 14684 w 93008"/>
                    <a:gd name="connsiteY12" fmla="*/ 27014 h 72163"/>
                    <a:gd name="connsiteX13" fmla="*/ 31718 w 93008"/>
                    <a:gd name="connsiteY13" fmla="*/ 43826 h 72163"/>
                    <a:gd name="connsiteX14" fmla="*/ 33222 w 93008"/>
                    <a:gd name="connsiteY14" fmla="*/ 45242 h 72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93008" h="72163">
                      <a:moveTo>
                        <a:pt x="33235" y="45229"/>
                      </a:moveTo>
                      <a:cubicBezTo>
                        <a:pt x="33804" y="44686"/>
                        <a:pt x="34271" y="44256"/>
                        <a:pt x="34726" y="43801"/>
                      </a:cubicBezTo>
                      <a:cubicBezTo>
                        <a:pt x="49056" y="29466"/>
                        <a:pt x="63374" y="15119"/>
                        <a:pt x="77705" y="784"/>
                      </a:cubicBezTo>
                      <a:cubicBezTo>
                        <a:pt x="78724" y="-244"/>
                        <a:pt x="79739" y="-261"/>
                        <a:pt x="80750" y="733"/>
                      </a:cubicBezTo>
                      <a:cubicBezTo>
                        <a:pt x="84529" y="4450"/>
                        <a:pt x="88307" y="8166"/>
                        <a:pt x="92073" y="11895"/>
                      </a:cubicBezTo>
                      <a:cubicBezTo>
                        <a:pt x="92376" y="12199"/>
                        <a:pt x="92641" y="12540"/>
                        <a:pt x="93008" y="12982"/>
                      </a:cubicBezTo>
                      <a:cubicBezTo>
                        <a:pt x="92540" y="13501"/>
                        <a:pt x="92124" y="13994"/>
                        <a:pt x="91669" y="14449"/>
                      </a:cubicBezTo>
                      <a:cubicBezTo>
                        <a:pt x="72713" y="33435"/>
                        <a:pt x="53758" y="52409"/>
                        <a:pt x="34789" y="71383"/>
                      </a:cubicBezTo>
                      <a:cubicBezTo>
                        <a:pt x="33745" y="72428"/>
                        <a:pt x="32692" y="72424"/>
                        <a:pt x="31630" y="71370"/>
                      </a:cubicBezTo>
                      <a:cubicBezTo>
                        <a:pt x="21381" y="61220"/>
                        <a:pt x="11158" y="51044"/>
                        <a:pt x="884" y="40931"/>
                      </a:cubicBezTo>
                      <a:cubicBezTo>
                        <a:pt x="-215" y="39857"/>
                        <a:pt x="-354" y="39199"/>
                        <a:pt x="834" y="38074"/>
                      </a:cubicBezTo>
                      <a:cubicBezTo>
                        <a:pt x="4675" y="34434"/>
                        <a:pt x="8454" y="30705"/>
                        <a:pt x="12182" y="26938"/>
                      </a:cubicBezTo>
                      <a:cubicBezTo>
                        <a:pt x="13180" y="25927"/>
                        <a:pt x="13774" y="26103"/>
                        <a:pt x="14684" y="27014"/>
                      </a:cubicBezTo>
                      <a:cubicBezTo>
                        <a:pt x="20332" y="32652"/>
                        <a:pt x="26032" y="38226"/>
                        <a:pt x="31718" y="43826"/>
                      </a:cubicBezTo>
                      <a:cubicBezTo>
                        <a:pt x="32173" y="44281"/>
                        <a:pt x="32654" y="44711"/>
                        <a:pt x="33222" y="4524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710" name="Grafik 5">
            <a:extLst>
              <a:ext uri="{FF2B5EF4-FFF2-40B4-BE49-F238E27FC236}">
                <a16:creationId xmlns:a16="http://schemas.microsoft.com/office/drawing/2014/main" id="{E38C3D80-BA71-6021-662B-C90B36CB3CB2}"/>
              </a:ext>
            </a:extLst>
          </p:cNvPr>
          <p:cNvGrpSpPr/>
          <p:nvPr/>
        </p:nvGrpSpPr>
        <p:grpSpPr>
          <a:xfrm>
            <a:off x="6611636" y="2230231"/>
            <a:ext cx="1713057" cy="35647"/>
            <a:chOff x="6611636" y="2230231"/>
            <a:chExt cx="1713057" cy="35647"/>
          </a:xfrm>
          <a:solidFill>
            <a:srgbClr val="000000"/>
          </a:solidFill>
        </p:grpSpPr>
        <p:sp>
          <p:nvSpPr>
            <p:cNvPr id="711" name="Freihandform 710">
              <a:extLst>
                <a:ext uri="{FF2B5EF4-FFF2-40B4-BE49-F238E27FC236}">
                  <a16:creationId xmlns:a16="http://schemas.microsoft.com/office/drawing/2014/main" id="{149BDE10-1671-E057-E000-E7459CE169F2}"/>
                </a:ext>
              </a:extLst>
            </p:cNvPr>
            <p:cNvSpPr/>
            <p:nvPr/>
          </p:nvSpPr>
          <p:spPr>
            <a:xfrm>
              <a:off x="6611636" y="2248055"/>
              <a:ext cx="1695239" cy="12640"/>
            </a:xfrm>
            <a:custGeom>
              <a:avLst/>
              <a:gdLst>
                <a:gd name="connsiteX0" fmla="*/ 1695239 w 1695239"/>
                <a:gd name="connsiteY0" fmla="*/ 0 h 12640"/>
                <a:gd name="connsiteX1" fmla="*/ 0 w 1695239"/>
                <a:gd name="connsiteY1" fmla="*/ 0 h 1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5239" h="12640">
                  <a:moveTo>
                    <a:pt x="1695239" y="0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2" name="Freihandform 711">
              <a:extLst>
                <a:ext uri="{FF2B5EF4-FFF2-40B4-BE49-F238E27FC236}">
                  <a16:creationId xmlns:a16="http://schemas.microsoft.com/office/drawing/2014/main" id="{D700B30E-E776-62F6-6D52-A653D236C250}"/>
                </a:ext>
              </a:extLst>
            </p:cNvPr>
            <p:cNvSpPr/>
            <p:nvPr/>
          </p:nvSpPr>
          <p:spPr>
            <a:xfrm>
              <a:off x="8289057" y="2230231"/>
              <a:ext cx="35636" cy="35647"/>
            </a:xfrm>
            <a:custGeom>
              <a:avLst/>
              <a:gdLst>
                <a:gd name="connsiteX0" fmla="*/ 35636 w 35636"/>
                <a:gd name="connsiteY0" fmla="*/ 17824 h 35647"/>
                <a:gd name="connsiteX1" fmla="*/ 17819 w 35636"/>
                <a:gd name="connsiteY1" fmla="*/ 35647 h 35647"/>
                <a:gd name="connsiteX2" fmla="*/ 1 w 35636"/>
                <a:gd name="connsiteY2" fmla="*/ 17824 h 35647"/>
                <a:gd name="connsiteX3" fmla="*/ 17819 w 35636"/>
                <a:gd name="connsiteY3" fmla="*/ 0 h 35647"/>
                <a:gd name="connsiteX4" fmla="*/ 35636 w 35636"/>
                <a:gd name="connsiteY4" fmla="*/ 17824 h 3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36" h="35647">
                  <a:moveTo>
                    <a:pt x="35636" y="17824"/>
                  </a:moveTo>
                  <a:cubicBezTo>
                    <a:pt x="35636" y="27667"/>
                    <a:pt x="27659" y="35647"/>
                    <a:pt x="17819" y="35647"/>
                  </a:cubicBezTo>
                  <a:cubicBezTo>
                    <a:pt x="7978" y="35647"/>
                    <a:pt x="1" y="27667"/>
                    <a:pt x="1" y="17824"/>
                  </a:cubicBezTo>
                  <a:cubicBezTo>
                    <a:pt x="1" y="7980"/>
                    <a:pt x="7978" y="0"/>
                    <a:pt x="17819" y="0"/>
                  </a:cubicBezTo>
                  <a:cubicBezTo>
                    <a:pt x="27660" y="0"/>
                    <a:pt x="35636" y="7980"/>
                    <a:pt x="35636" y="17824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13" name="Grafik 5">
            <a:extLst>
              <a:ext uri="{FF2B5EF4-FFF2-40B4-BE49-F238E27FC236}">
                <a16:creationId xmlns:a16="http://schemas.microsoft.com/office/drawing/2014/main" id="{9CBA68AA-377A-1E81-DD84-D4D94C3CEAEA}"/>
              </a:ext>
            </a:extLst>
          </p:cNvPr>
          <p:cNvGrpSpPr/>
          <p:nvPr/>
        </p:nvGrpSpPr>
        <p:grpSpPr>
          <a:xfrm>
            <a:off x="6611636" y="4168170"/>
            <a:ext cx="1079009" cy="35647"/>
            <a:chOff x="6611636" y="4168170"/>
            <a:chExt cx="1079009" cy="35647"/>
          </a:xfrm>
          <a:solidFill>
            <a:srgbClr val="000000"/>
          </a:solidFill>
        </p:grpSpPr>
        <p:sp>
          <p:nvSpPr>
            <p:cNvPr id="714" name="Freihandform 713">
              <a:extLst>
                <a:ext uri="{FF2B5EF4-FFF2-40B4-BE49-F238E27FC236}">
                  <a16:creationId xmlns:a16="http://schemas.microsoft.com/office/drawing/2014/main" id="{EDC99D27-73E2-19EF-8E58-407812A063BB}"/>
                </a:ext>
              </a:extLst>
            </p:cNvPr>
            <p:cNvSpPr/>
            <p:nvPr/>
          </p:nvSpPr>
          <p:spPr>
            <a:xfrm>
              <a:off x="6611636" y="4185981"/>
              <a:ext cx="1061191" cy="12"/>
            </a:xfrm>
            <a:custGeom>
              <a:avLst/>
              <a:gdLst>
                <a:gd name="connsiteX0" fmla="*/ 1061192 w 1061191"/>
                <a:gd name="connsiteY0" fmla="*/ 13 h 12"/>
                <a:gd name="connsiteX1" fmla="*/ 0 w 1061191"/>
                <a:gd name="connsiteY1" fmla="*/ 0 h 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1191" h="12">
                  <a:moveTo>
                    <a:pt x="1061192" y="13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5" name="Freihandform 714">
              <a:extLst>
                <a:ext uri="{FF2B5EF4-FFF2-40B4-BE49-F238E27FC236}">
                  <a16:creationId xmlns:a16="http://schemas.microsoft.com/office/drawing/2014/main" id="{18273734-BCAA-A3C6-6DD0-856310440383}"/>
                </a:ext>
              </a:extLst>
            </p:cNvPr>
            <p:cNvSpPr/>
            <p:nvPr/>
          </p:nvSpPr>
          <p:spPr>
            <a:xfrm>
              <a:off x="7655009" y="4168170"/>
              <a:ext cx="35636" cy="35647"/>
            </a:xfrm>
            <a:custGeom>
              <a:avLst/>
              <a:gdLst>
                <a:gd name="connsiteX0" fmla="*/ 35636 w 35636"/>
                <a:gd name="connsiteY0" fmla="*/ 17823 h 35647"/>
                <a:gd name="connsiteX1" fmla="*/ 17818 w 35636"/>
                <a:gd name="connsiteY1" fmla="*/ 35647 h 35647"/>
                <a:gd name="connsiteX2" fmla="*/ 1 w 35636"/>
                <a:gd name="connsiteY2" fmla="*/ 17823 h 35647"/>
                <a:gd name="connsiteX3" fmla="*/ 17818 w 35636"/>
                <a:gd name="connsiteY3" fmla="*/ 0 h 35647"/>
                <a:gd name="connsiteX4" fmla="*/ 35636 w 35636"/>
                <a:gd name="connsiteY4" fmla="*/ 17823 h 3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36" h="35647">
                  <a:moveTo>
                    <a:pt x="35636" y="17823"/>
                  </a:moveTo>
                  <a:cubicBezTo>
                    <a:pt x="35636" y="27667"/>
                    <a:pt x="27659" y="35647"/>
                    <a:pt x="17818" y="35647"/>
                  </a:cubicBezTo>
                  <a:cubicBezTo>
                    <a:pt x="7977" y="35647"/>
                    <a:pt x="1" y="27667"/>
                    <a:pt x="1" y="17823"/>
                  </a:cubicBezTo>
                  <a:cubicBezTo>
                    <a:pt x="1" y="7980"/>
                    <a:pt x="7978" y="0"/>
                    <a:pt x="17818" y="0"/>
                  </a:cubicBezTo>
                  <a:cubicBezTo>
                    <a:pt x="27659" y="0"/>
                    <a:pt x="35636" y="7980"/>
                    <a:pt x="35636" y="17823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16" name="Grafik 5">
            <a:extLst>
              <a:ext uri="{FF2B5EF4-FFF2-40B4-BE49-F238E27FC236}">
                <a16:creationId xmlns:a16="http://schemas.microsoft.com/office/drawing/2014/main" id="{A00A1D41-3E38-9891-2E0A-7E69A97019E9}"/>
              </a:ext>
            </a:extLst>
          </p:cNvPr>
          <p:cNvGrpSpPr/>
          <p:nvPr/>
        </p:nvGrpSpPr>
        <p:grpSpPr>
          <a:xfrm>
            <a:off x="10749517" y="6008952"/>
            <a:ext cx="971544" cy="35647"/>
            <a:chOff x="10749517" y="6008952"/>
            <a:chExt cx="971544" cy="35647"/>
          </a:xfrm>
          <a:solidFill>
            <a:srgbClr val="000000"/>
          </a:solidFill>
        </p:grpSpPr>
        <p:sp>
          <p:nvSpPr>
            <p:cNvPr id="717" name="Freihandform 716">
              <a:extLst>
                <a:ext uri="{FF2B5EF4-FFF2-40B4-BE49-F238E27FC236}">
                  <a16:creationId xmlns:a16="http://schemas.microsoft.com/office/drawing/2014/main" id="{5AD1D2E1-203E-8835-4DE4-EDDA8637076F}"/>
                </a:ext>
              </a:extLst>
            </p:cNvPr>
            <p:cNvSpPr/>
            <p:nvPr/>
          </p:nvSpPr>
          <p:spPr>
            <a:xfrm>
              <a:off x="10767335" y="6026775"/>
              <a:ext cx="953726" cy="12640"/>
            </a:xfrm>
            <a:custGeom>
              <a:avLst/>
              <a:gdLst>
                <a:gd name="connsiteX0" fmla="*/ 953726 w 953726"/>
                <a:gd name="connsiteY0" fmla="*/ 0 h 12640"/>
                <a:gd name="connsiteX1" fmla="*/ 0 w 953726"/>
                <a:gd name="connsiteY1" fmla="*/ 0 h 1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3726" h="12640">
                  <a:moveTo>
                    <a:pt x="953726" y="0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8" name="Freihandform 717">
              <a:extLst>
                <a:ext uri="{FF2B5EF4-FFF2-40B4-BE49-F238E27FC236}">
                  <a16:creationId xmlns:a16="http://schemas.microsoft.com/office/drawing/2014/main" id="{2AD21936-6DB8-8ED7-27B6-A86871FCE321}"/>
                </a:ext>
              </a:extLst>
            </p:cNvPr>
            <p:cNvSpPr/>
            <p:nvPr/>
          </p:nvSpPr>
          <p:spPr>
            <a:xfrm>
              <a:off x="10749517" y="6008952"/>
              <a:ext cx="35636" cy="35647"/>
            </a:xfrm>
            <a:custGeom>
              <a:avLst/>
              <a:gdLst>
                <a:gd name="connsiteX0" fmla="*/ 35636 w 35636"/>
                <a:gd name="connsiteY0" fmla="*/ 17824 h 35647"/>
                <a:gd name="connsiteX1" fmla="*/ 17819 w 35636"/>
                <a:gd name="connsiteY1" fmla="*/ 35647 h 35647"/>
                <a:gd name="connsiteX2" fmla="*/ 1 w 35636"/>
                <a:gd name="connsiteY2" fmla="*/ 17824 h 35647"/>
                <a:gd name="connsiteX3" fmla="*/ 17819 w 35636"/>
                <a:gd name="connsiteY3" fmla="*/ 0 h 35647"/>
                <a:gd name="connsiteX4" fmla="*/ 35636 w 35636"/>
                <a:gd name="connsiteY4" fmla="*/ 17824 h 3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36" h="35647">
                  <a:moveTo>
                    <a:pt x="35636" y="17824"/>
                  </a:moveTo>
                  <a:cubicBezTo>
                    <a:pt x="35636" y="27667"/>
                    <a:pt x="27659" y="35647"/>
                    <a:pt x="17819" y="35647"/>
                  </a:cubicBezTo>
                  <a:cubicBezTo>
                    <a:pt x="7978" y="35647"/>
                    <a:pt x="1" y="27667"/>
                    <a:pt x="1" y="17824"/>
                  </a:cubicBezTo>
                  <a:cubicBezTo>
                    <a:pt x="1" y="7980"/>
                    <a:pt x="7978" y="0"/>
                    <a:pt x="17819" y="0"/>
                  </a:cubicBezTo>
                  <a:cubicBezTo>
                    <a:pt x="27660" y="0"/>
                    <a:pt x="35636" y="7980"/>
                    <a:pt x="35636" y="17824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19" name="Grafik 5">
            <a:extLst>
              <a:ext uri="{FF2B5EF4-FFF2-40B4-BE49-F238E27FC236}">
                <a16:creationId xmlns:a16="http://schemas.microsoft.com/office/drawing/2014/main" id="{EB5085E8-8A05-E97C-0963-4CC2D9D6B15F}"/>
              </a:ext>
            </a:extLst>
          </p:cNvPr>
          <p:cNvGrpSpPr/>
          <p:nvPr/>
        </p:nvGrpSpPr>
        <p:grpSpPr>
          <a:xfrm>
            <a:off x="5901273" y="6008952"/>
            <a:ext cx="792440" cy="35647"/>
            <a:chOff x="5901273" y="6008952"/>
            <a:chExt cx="792440" cy="35647"/>
          </a:xfrm>
          <a:solidFill>
            <a:srgbClr val="000000"/>
          </a:solidFill>
        </p:grpSpPr>
        <p:sp>
          <p:nvSpPr>
            <p:cNvPr id="720" name="Freihandform 719">
              <a:extLst>
                <a:ext uri="{FF2B5EF4-FFF2-40B4-BE49-F238E27FC236}">
                  <a16:creationId xmlns:a16="http://schemas.microsoft.com/office/drawing/2014/main" id="{1D2BB477-BD2E-2A43-DE2F-8C4A1BF0D9D9}"/>
                </a:ext>
              </a:extLst>
            </p:cNvPr>
            <p:cNvSpPr/>
            <p:nvPr/>
          </p:nvSpPr>
          <p:spPr>
            <a:xfrm>
              <a:off x="5901273" y="6026775"/>
              <a:ext cx="774622" cy="12640"/>
            </a:xfrm>
            <a:custGeom>
              <a:avLst/>
              <a:gdLst>
                <a:gd name="connsiteX0" fmla="*/ 774622 w 774622"/>
                <a:gd name="connsiteY0" fmla="*/ 0 h 12640"/>
                <a:gd name="connsiteX1" fmla="*/ 0 w 774622"/>
                <a:gd name="connsiteY1" fmla="*/ 0 h 1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622" h="12640">
                  <a:moveTo>
                    <a:pt x="774622" y="0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1" name="Freihandform 720">
              <a:extLst>
                <a:ext uri="{FF2B5EF4-FFF2-40B4-BE49-F238E27FC236}">
                  <a16:creationId xmlns:a16="http://schemas.microsoft.com/office/drawing/2014/main" id="{E011E0C9-11F0-DE8C-BB2E-229E07553DAB}"/>
                </a:ext>
              </a:extLst>
            </p:cNvPr>
            <p:cNvSpPr/>
            <p:nvPr/>
          </p:nvSpPr>
          <p:spPr>
            <a:xfrm>
              <a:off x="6658077" y="6008952"/>
              <a:ext cx="35636" cy="35647"/>
            </a:xfrm>
            <a:custGeom>
              <a:avLst/>
              <a:gdLst>
                <a:gd name="connsiteX0" fmla="*/ 17818 w 35636"/>
                <a:gd name="connsiteY0" fmla="*/ 0 h 35647"/>
                <a:gd name="connsiteX1" fmla="*/ 35636 w 35636"/>
                <a:gd name="connsiteY1" fmla="*/ 17824 h 35647"/>
                <a:gd name="connsiteX2" fmla="*/ 17818 w 35636"/>
                <a:gd name="connsiteY2" fmla="*/ 35647 h 35647"/>
                <a:gd name="connsiteX3" fmla="*/ 0 w 35636"/>
                <a:gd name="connsiteY3" fmla="*/ 17824 h 35647"/>
                <a:gd name="connsiteX4" fmla="*/ 17818 w 35636"/>
                <a:gd name="connsiteY4" fmla="*/ 0 h 3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36" h="35647">
                  <a:moveTo>
                    <a:pt x="17818" y="0"/>
                  </a:moveTo>
                  <a:cubicBezTo>
                    <a:pt x="27662" y="0"/>
                    <a:pt x="35636" y="7977"/>
                    <a:pt x="35636" y="17824"/>
                  </a:cubicBezTo>
                  <a:cubicBezTo>
                    <a:pt x="35636" y="27671"/>
                    <a:pt x="27662" y="35647"/>
                    <a:pt x="17818" y="35647"/>
                  </a:cubicBezTo>
                  <a:cubicBezTo>
                    <a:pt x="7974" y="35647"/>
                    <a:pt x="0" y="27671"/>
                    <a:pt x="0" y="17824"/>
                  </a:cubicBezTo>
                  <a:cubicBezTo>
                    <a:pt x="0" y="7977"/>
                    <a:pt x="7974" y="0"/>
                    <a:pt x="17818" y="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22" name="Grafik 5">
            <a:extLst>
              <a:ext uri="{FF2B5EF4-FFF2-40B4-BE49-F238E27FC236}">
                <a16:creationId xmlns:a16="http://schemas.microsoft.com/office/drawing/2014/main" id="{3AB68632-1D74-7DA5-85E6-A908264DEA93}"/>
              </a:ext>
            </a:extLst>
          </p:cNvPr>
          <p:cNvGrpSpPr/>
          <p:nvPr/>
        </p:nvGrpSpPr>
        <p:grpSpPr>
          <a:xfrm>
            <a:off x="713296" y="2707258"/>
            <a:ext cx="2942219" cy="2151594"/>
            <a:chOff x="713296" y="2707258"/>
            <a:chExt cx="2942219" cy="2151594"/>
          </a:xfrm>
        </p:grpSpPr>
        <p:sp>
          <p:nvSpPr>
            <p:cNvPr id="723" name="Freihandform 722">
              <a:extLst>
                <a:ext uri="{FF2B5EF4-FFF2-40B4-BE49-F238E27FC236}">
                  <a16:creationId xmlns:a16="http://schemas.microsoft.com/office/drawing/2014/main" id="{9D883A2D-CE73-8B40-EB76-EA587D137BDE}"/>
                </a:ext>
              </a:extLst>
            </p:cNvPr>
            <p:cNvSpPr/>
            <p:nvPr/>
          </p:nvSpPr>
          <p:spPr>
            <a:xfrm>
              <a:off x="713296" y="2725081"/>
              <a:ext cx="2924401" cy="2115959"/>
            </a:xfrm>
            <a:custGeom>
              <a:avLst/>
              <a:gdLst>
                <a:gd name="connsiteX0" fmla="*/ 2924402 w 2924401"/>
                <a:gd name="connsiteY0" fmla="*/ 2115947 h 2115959"/>
                <a:gd name="connsiteX1" fmla="*/ 0 w 2924401"/>
                <a:gd name="connsiteY1" fmla="*/ 2115960 h 2115959"/>
                <a:gd name="connsiteX2" fmla="*/ 0 w 2924401"/>
                <a:gd name="connsiteY2" fmla="*/ 0 h 2115959"/>
                <a:gd name="connsiteX3" fmla="*/ 2924402 w 2924401"/>
                <a:gd name="connsiteY3" fmla="*/ 0 h 2115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24401" h="2115959">
                  <a:moveTo>
                    <a:pt x="2924402" y="2115947"/>
                  </a:moveTo>
                  <a:lnTo>
                    <a:pt x="0" y="2115960"/>
                  </a:lnTo>
                  <a:lnTo>
                    <a:pt x="0" y="0"/>
                  </a:lnTo>
                  <a:lnTo>
                    <a:pt x="2924402" y="0"/>
                  </a:lnTo>
                </a:path>
              </a:pathLst>
            </a:custGeom>
            <a:noFill/>
            <a:ln w="631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4" name="Freihandform 723">
              <a:extLst>
                <a:ext uri="{FF2B5EF4-FFF2-40B4-BE49-F238E27FC236}">
                  <a16:creationId xmlns:a16="http://schemas.microsoft.com/office/drawing/2014/main" id="{65F9C2A5-6C34-A085-B7FF-FECCDE175736}"/>
                </a:ext>
              </a:extLst>
            </p:cNvPr>
            <p:cNvSpPr/>
            <p:nvPr/>
          </p:nvSpPr>
          <p:spPr>
            <a:xfrm>
              <a:off x="3619879" y="4823205"/>
              <a:ext cx="35636" cy="35647"/>
            </a:xfrm>
            <a:custGeom>
              <a:avLst/>
              <a:gdLst>
                <a:gd name="connsiteX0" fmla="*/ 35636 w 35636"/>
                <a:gd name="connsiteY0" fmla="*/ 17823 h 35647"/>
                <a:gd name="connsiteX1" fmla="*/ 17818 w 35636"/>
                <a:gd name="connsiteY1" fmla="*/ 35647 h 35647"/>
                <a:gd name="connsiteX2" fmla="*/ 0 w 35636"/>
                <a:gd name="connsiteY2" fmla="*/ 17823 h 35647"/>
                <a:gd name="connsiteX3" fmla="*/ 17818 w 35636"/>
                <a:gd name="connsiteY3" fmla="*/ 0 h 35647"/>
                <a:gd name="connsiteX4" fmla="*/ 35636 w 35636"/>
                <a:gd name="connsiteY4" fmla="*/ 17823 h 3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36" h="35647">
                  <a:moveTo>
                    <a:pt x="35636" y="17823"/>
                  </a:moveTo>
                  <a:cubicBezTo>
                    <a:pt x="35636" y="27667"/>
                    <a:pt x="27659" y="35647"/>
                    <a:pt x="17818" y="35647"/>
                  </a:cubicBezTo>
                  <a:cubicBezTo>
                    <a:pt x="7978" y="35647"/>
                    <a:pt x="0" y="27667"/>
                    <a:pt x="0" y="17823"/>
                  </a:cubicBezTo>
                  <a:cubicBezTo>
                    <a:pt x="0" y="7980"/>
                    <a:pt x="7977" y="0"/>
                    <a:pt x="17818" y="0"/>
                  </a:cubicBezTo>
                  <a:cubicBezTo>
                    <a:pt x="27659" y="0"/>
                    <a:pt x="35636" y="7980"/>
                    <a:pt x="35636" y="17823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5" name="Freihandform 724">
              <a:extLst>
                <a:ext uri="{FF2B5EF4-FFF2-40B4-BE49-F238E27FC236}">
                  <a16:creationId xmlns:a16="http://schemas.microsoft.com/office/drawing/2014/main" id="{CDA89A79-DBC2-8AA2-D1D8-FD95E9F7BC15}"/>
                </a:ext>
              </a:extLst>
            </p:cNvPr>
            <p:cNvSpPr/>
            <p:nvPr/>
          </p:nvSpPr>
          <p:spPr>
            <a:xfrm>
              <a:off x="3619879" y="2707258"/>
              <a:ext cx="35636" cy="35647"/>
            </a:xfrm>
            <a:custGeom>
              <a:avLst/>
              <a:gdLst>
                <a:gd name="connsiteX0" fmla="*/ 35636 w 35636"/>
                <a:gd name="connsiteY0" fmla="*/ 17824 h 35647"/>
                <a:gd name="connsiteX1" fmla="*/ 17818 w 35636"/>
                <a:gd name="connsiteY1" fmla="*/ 35647 h 35647"/>
                <a:gd name="connsiteX2" fmla="*/ 0 w 35636"/>
                <a:gd name="connsiteY2" fmla="*/ 17824 h 35647"/>
                <a:gd name="connsiteX3" fmla="*/ 17818 w 35636"/>
                <a:gd name="connsiteY3" fmla="*/ 0 h 35647"/>
                <a:gd name="connsiteX4" fmla="*/ 35636 w 35636"/>
                <a:gd name="connsiteY4" fmla="*/ 17824 h 3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36" h="35647">
                  <a:moveTo>
                    <a:pt x="35636" y="17824"/>
                  </a:moveTo>
                  <a:cubicBezTo>
                    <a:pt x="35636" y="27667"/>
                    <a:pt x="27659" y="35647"/>
                    <a:pt x="17818" y="35647"/>
                  </a:cubicBezTo>
                  <a:cubicBezTo>
                    <a:pt x="7978" y="35647"/>
                    <a:pt x="0" y="27667"/>
                    <a:pt x="0" y="17824"/>
                  </a:cubicBezTo>
                  <a:cubicBezTo>
                    <a:pt x="0" y="7980"/>
                    <a:pt x="7977" y="0"/>
                    <a:pt x="17818" y="0"/>
                  </a:cubicBezTo>
                  <a:cubicBezTo>
                    <a:pt x="27659" y="0"/>
                    <a:pt x="35636" y="7980"/>
                    <a:pt x="35636" y="17824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26" name="Grafik 5">
            <a:extLst>
              <a:ext uri="{FF2B5EF4-FFF2-40B4-BE49-F238E27FC236}">
                <a16:creationId xmlns:a16="http://schemas.microsoft.com/office/drawing/2014/main" id="{FCB064EA-B25E-D54C-A80E-F1DA39585276}"/>
              </a:ext>
            </a:extLst>
          </p:cNvPr>
          <p:cNvGrpSpPr/>
          <p:nvPr/>
        </p:nvGrpSpPr>
        <p:grpSpPr>
          <a:xfrm>
            <a:off x="713296" y="4117885"/>
            <a:ext cx="2942219" cy="35647"/>
            <a:chOff x="713296" y="4117885"/>
            <a:chExt cx="2942219" cy="35647"/>
          </a:xfrm>
          <a:solidFill>
            <a:srgbClr val="000000"/>
          </a:solidFill>
        </p:grpSpPr>
        <p:sp>
          <p:nvSpPr>
            <p:cNvPr id="727" name="Freihandform 726">
              <a:extLst>
                <a:ext uri="{FF2B5EF4-FFF2-40B4-BE49-F238E27FC236}">
                  <a16:creationId xmlns:a16="http://schemas.microsoft.com/office/drawing/2014/main" id="{1F7CBD21-3EE0-3044-5BEE-97CB46D7EEF9}"/>
                </a:ext>
              </a:extLst>
            </p:cNvPr>
            <p:cNvSpPr/>
            <p:nvPr/>
          </p:nvSpPr>
          <p:spPr>
            <a:xfrm>
              <a:off x="713296" y="4135708"/>
              <a:ext cx="2924401" cy="12640"/>
            </a:xfrm>
            <a:custGeom>
              <a:avLst/>
              <a:gdLst>
                <a:gd name="connsiteX0" fmla="*/ 2924402 w 2924401"/>
                <a:gd name="connsiteY0" fmla="*/ 0 h 12640"/>
                <a:gd name="connsiteX1" fmla="*/ 0 w 2924401"/>
                <a:gd name="connsiteY1" fmla="*/ 0 h 1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4401" h="12640">
                  <a:moveTo>
                    <a:pt x="2924402" y="0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8" name="Freihandform 727">
              <a:extLst>
                <a:ext uri="{FF2B5EF4-FFF2-40B4-BE49-F238E27FC236}">
                  <a16:creationId xmlns:a16="http://schemas.microsoft.com/office/drawing/2014/main" id="{94EF01A9-4D66-F9FC-B930-C0F141B36752}"/>
                </a:ext>
              </a:extLst>
            </p:cNvPr>
            <p:cNvSpPr/>
            <p:nvPr/>
          </p:nvSpPr>
          <p:spPr>
            <a:xfrm>
              <a:off x="3619879" y="4117885"/>
              <a:ext cx="35636" cy="35647"/>
            </a:xfrm>
            <a:custGeom>
              <a:avLst/>
              <a:gdLst>
                <a:gd name="connsiteX0" fmla="*/ 35636 w 35636"/>
                <a:gd name="connsiteY0" fmla="*/ 17824 h 35647"/>
                <a:gd name="connsiteX1" fmla="*/ 17818 w 35636"/>
                <a:gd name="connsiteY1" fmla="*/ 35647 h 35647"/>
                <a:gd name="connsiteX2" fmla="*/ 0 w 35636"/>
                <a:gd name="connsiteY2" fmla="*/ 17824 h 35647"/>
                <a:gd name="connsiteX3" fmla="*/ 17818 w 35636"/>
                <a:gd name="connsiteY3" fmla="*/ 0 h 35647"/>
                <a:gd name="connsiteX4" fmla="*/ 35636 w 35636"/>
                <a:gd name="connsiteY4" fmla="*/ 17824 h 3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36" h="35647">
                  <a:moveTo>
                    <a:pt x="35636" y="17824"/>
                  </a:moveTo>
                  <a:cubicBezTo>
                    <a:pt x="35636" y="27667"/>
                    <a:pt x="27659" y="35647"/>
                    <a:pt x="17818" y="35647"/>
                  </a:cubicBezTo>
                  <a:cubicBezTo>
                    <a:pt x="7978" y="35647"/>
                    <a:pt x="0" y="27667"/>
                    <a:pt x="0" y="17824"/>
                  </a:cubicBezTo>
                  <a:cubicBezTo>
                    <a:pt x="0" y="7980"/>
                    <a:pt x="7977" y="0"/>
                    <a:pt x="17818" y="0"/>
                  </a:cubicBezTo>
                  <a:cubicBezTo>
                    <a:pt x="27659" y="0"/>
                    <a:pt x="35636" y="7980"/>
                    <a:pt x="35636" y="17824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29" name="Grafik 5">
            <a:extLst>
              <a:ext uri="{FF2B5EF4-FFF2-40B4-BE49-F238E27FC236}">
                <a16:creationId xmlns:a16="http://schemas.microsoft.com/office/drawing/2014/main" id="{D2487A29-773B-061E-C4E8-00178A32F60B}"/>
              </a:ext>
            </a:extLst>
          </p:cNvPr>
          <p:cNvGrpSpPr/>
          <p:nvPr/>
        </p:nvGrpSpPr>
        <p:grpSpPr>
          <a:xfrm>
            <a:off x="713296" y="3412578"/>
            <a:ext cx="2942219" cy="35647"/>
            <a:chOff x="713296" y="3412578"/>
            <a:chExt cx="2942219" cy="35647"/>
          </a:xfrm>
          <a:solidFill>
            <a:srgbClr val="000000"/>
          </a:solidFill>
        </p:grpSpPr>
        <p:sp>
          <p:nvSpPr>
            <p:cNvPr id="730" name="Freihandform 729">
              <a:extLst>
                <a:ext uri="{FF2B5EF4-FFF2-40B4-BE49-F238E27FC236}">
                  <a16:creationId xmlns:a16="http://schemas.microsoft.com/office/drawing/2014/main" id="{392E865B-F76C-8C87-5D64-67F5DF6C2798}"/>
                </a:ext>
              </a:extLst>
            </p:cNvPr>
            <p:cNvSpPr/>
            <p:nvPr/>
          </p:nvSpPr>
          <p:spPr>
            <a:xfrm>
              <a:off x="713296" y="3430401"/>
              <a:ext cx="2924401" cy="12640"/>
            </a:xfrm>
            <a:custGeom>
              <a:avLst/>
              <a:gdLst>
                <a:gd name="connsiteX0" fmla="*/ 2924402 w 2924401"/>
                <a:gd name="connsiteY0" fmla="*/ 0 h 12640"/>
                <a:gd name="connsiteX1" fmla="*/ 0 w 2924401"/>
                <a:gd name="connsiteY1" fmla="*/ 0 h 1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4401" h="12640">
                  <a:moveTo>
                    <a:pt x="2924402" y="0"/>
                  </a:moveTo>
                  <a:lnTo>
                    <a:pt x="0" y="0"/>
                  </a:lnTo>
                </a:path>
              </a:pathLst>
            </a:custGeom>
            <a:ln w="631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1" name="Freihandform 730">
              <a:extLst>
                <a:ext uri="{FF2B5EF4-FFF2-40B4-BE49-F238E27FC236}">
                  <a16:creationId xmlns:a16="http://schemas.microsoft.com/office/drawing/2014/main" id="{D7912B7E-9A06-23E1-DE34-BE39BF2790ED}"/>
                </a:ext>
              </a:extLst>
            </p:cNvPr>
            <p:cNvSpPr/>
            <p:nvPr/>
          </p:nvSpPr>
          <p:spPr>
            <a:xfrm>
              <a:off x="3619879" y="3412578"/>
              <a:ext cx="35636" cy="35647"/>
            </a:xfrm>
            <a:custGeom>
              <a:avLst/>
              <a:gdLst>
                <a:gd name="connsiteX0" fmla="*/ 35636 w 35636"/>
                <a:gd name="connsiteY0" fmla="*/ 17824 h 35647"/>
                <a:gd name="connsiteX1" fmla="*/ 17818 w 35636"/>
                <a:gd name="connsiteY1" fmla="*/ 35647 h 35647"/>
                <a:gd name="connsiteX2" fmla="*/ 0 w 35636"/>
                <a:gd name="connsiteY2" fmla="*/ 17824 h 35647"/>
                <a:gd name="connsiteX3" fmla="*/ 17818 w 35636"/>
                <a:gd name="connsiteY3" fmla="*/ 0 h 35647"/>
                <a:gd name="connsiteX4" fmla="*/ 35636 w 35636"/>
                <a:gd name="connsiteY4" fmla="*/ 17824 h 3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36" h="35647">
                  <a:moveTo>
                    <a:pt x="35636" y="17824"/>
                  </a:moveTo>
                  <a:cubicBezTo>
                    <a:pt x="35636" y="27667"/>
                    <a:pt x="27659" y="35647"/>
                    <a:pt x="17818" y="35647"/>
                  </a:cubicBezTo>
                  <a:cubicBezTo>
                    <a:pt x="7978" y="35647"/>
                    <a:pt x="0" y="27667"/>
                    <a:pt x="0" y="17824"/>
                  </a:cubicBezTo>
                  <a:cubicBezTo>
                    <a:pt x="0" y="7980"/>
                    <a:pt x="7977" y="0"/>
                    <a:pt x="17818" y="0"/>
                  </a:cubicBezTo>
                  <a:cubicBezTo>
                    <a:pt x="27659" y="0"/>
                    <a:pt x="35636" y="7980"/>
                    <a:pt x="35636" y="17824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732" name="Freihandform 731">
            <a:extLst>
              <a:ext uri="{FF2B5EF4-FFF2-40B4-BE49-F238E27FC236}">
                <a16:creationId xmlns:a16="http://schemas.microsoft.com/office/drawing/2014/main" id="{A511F5F0-7DCE-90D1-9ADB-DAA1E36E3100}"/>
              </a:ext>
            </a:extLst>
          </p:cNvPr>
          <p:cNvSpPr/>
          <p:nvPr/>
        </p:nvSpPr>
        <p:spPr>
          <a:xfrm>
            <a:off x="2208239" y="4730383"/>
            <a:ext cx="873734" cy="229519"/>
          </a:xfrm>
          <a:custGeom>
            <a:avLst/>
            <a:gdLst>
              <a:gd name="connsiteX0" fmla="*/ 0 w 873734"/>
              <a:gd name="connsiteY0" fmla="*/ 0 h 229519"/>
              <a:gd name="connsiteX1" fmla="*/ 873734 w 873734"/>
              <a:gd name="connsiteY1" fmla="*/ 0 h 229519"/>
              <a:gd name="connsiteX2" fmla="*/ 873734 w 873734"/>
              <a:gd name="connsiteY2" fmla="*/ 229520 h 229519"/>
              <a:gd name="connsiteX3" fmla="*/ 0 w 873734"/>
              <a:gd name="connsiteY3" fmla="*/ 229520 h 229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3734" h="229519">
                <a:moveTo>
                  <a:pt x="0" y="0"/>
                </a:moveTo>
                <a:lnTo>
                  <a:pt x="873734" y="0"/>
                </a:lnTo>
                <a:lnTo>
                  <a:pt x="873734" y="229520"/>
                </a:lnTo>
                <a:lnTo>
                  <a:pt x="0" y="229520"/>
                </a:ln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de-DE" sz="1000" dirty="0" err="1"/>
              <a:t>Foundation</a:t>
            </a:r>
            <a:endParaRPr lang="de-DE" sz="1000" dirty="0"/>
          </a:p>
        </p:txBody>
      </p:sp>
      <p:grpSp>
        <p:nvGrpSpPr>
          <p:cNvPr id="733" name="Grafik 5">
            <a:extLst>
              <a:ext uri="{FF2B5EF4-FFF2-40B4-BE49-F238E27FC236}">
                <a16:creationId xmlns:a16="http://schemas.microsoft.com/office/drawing/2014/main" id="{380DA2F5-7CD1-F515-7C59-531DFA0C8304}"/>
              </a:ext>
            </a:extLst>
          </p:cNvPr>
          <p:cNvGrpSpPr/>
          <p:nvPr/>
        </p:nvGrpSpPr>
        <p:grpSpPr>
          <a:xfrm>
            <a:off x="535835" y="4290559"/>
            <a:ext cx="354922" cy="355030"/>
            <a:chOff x="535835" y="4290559"/>
            <a:chExt cx="354922" cy="355030"/>
          </a:xfrm>
        </p:grpSpPr>
        <p:sp>
          <p:nvSpPr>
            <p:cNvPr id="734" name="Freihandform 733">
              <a:extLst>
                <a:ext uri="{FF2B5EF4-FFF2-40B4-BE49-F238E27FC236}">
                  <a16:creationId xmlns:a16="http://schemas.microsoft.com/office/drawing/2014/main" id="{FED3408D-0762-9C70-FFCE-F6366668BAFB}"/>
                </a:ext>
              </a:extLst>
            </p:cNvPr>
            <p:cNvSpPr/>
            <p:nvPr/>
          </p:nvSpPr>
          <p:spPr>
            <a:xfrm>
              <a:off x="535835" y="4290559"/>
              <a:ext cx="354922" cy="355030"/>
            </a:xfrm>
            <a:custGeom>
              <a:avLst/>
              <a:gdLst>
                <a:gd name="connsiteX0" fmla="*/ 354923 w 354922"/>
                <a:gd name="connsiteY0" fmla="*/ 177515 h 355030"/>
                <a:gd name="connsiteX1" fmla="*/ 177461 w 354922"/>
                <a:gd name="connsiteY1" fmla="*/ 355030 h 355030"/>
                <a:gd name="connsiteX2" fmla="*/ 0 w 354922"/>
                <a:gd name="connsiteY2" fmla="*/ 177515 h 355030"/>
                <a:gd name="connsiteX3" fmla="*/ 177461 w 354922"/>
                <a:gd name="connsiteY3" fmla="*/ 0 h 355030"/>
                <a:gd name="connsiteX4" fmla="*/ 354923 w 354922"/>
                <a:gd name="connsiteY4" fmla="*/ 177515 h 355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4922" h="355030">
                  <a:moveTo>
                    <a:pt x="354923" y="177515"/>
                  </a:moveTo>
                  <a:cubicBezTo>
                    <a:pt x="354923" y="275554"/>
                    <a:pt x="275470" y="355030"/>
                    <a:pt x="177461" y="355030"/>
                  </a:cubicBezTo>
                  <a:cubicBezTo>
                    <a:pt x="79452" y="355030"/>
                    <a:pt x="0" y="275554"/>
                    <a:pt x="0" y="177515"/>
                  </a:cubicBezTo>
                  <a:cubicBezTo>
                    <a:pt x="0" y="79476"/>
                    <a:pt x="79452" y="0"/>
                    <a:pt x="177461" y="0"/>
                  </a:cubicBezTo>
                  <a:cubicBezTo>
                    <a:pt x="275470" y="0"/>
                    <a:pt x="354923" y="79476"/>
                    <a:pt x="354923" y="177515"/>
                  </a:cubicBezTo>
                  <a:close/>
                </a:path>
              </a:pathLst>
            </a:custGeom>
            <a:solidFill>
              <a:srgbClr val="9BBA4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5" name="Freihandform 734">
              <a:extLst>
                <a:ext uri="{FF2B5EF4-FFF2-40B4-BE49-F238E27FC236}">
                  <a16:creationId xmlns:a16="http://schemas.microsoft.com/office/drawing/2014/main" id="{A247D581-A046-EE75-B63A-750EBED939CA}"/>
                </a:ext>
              </a:extLst>
            </p:cNvPr>
            <p:cNvSpPr/>
            <p:nvPr/>
          </p:nvSpPr>
          <p:spPr>
            <a:xfrm>
              <a:off x="638295" y="4367379"/>
              <a:ext cx="150017" cy="195197"/>
            </a:xfrm>
            <a:custGeom>
              <a:avLst/>
              <a:gdLst>
                <a:gd name="connsiteX0" fmla="*/ 140915 w 150017"/>
                <a:gd name="connsiteY0" fmla="*/ 195197 h 195197"/>
                <a:gd name="connsiteX1" fmla="*/ 9073 w 150017"/>
                <a:gd name="connsiteY1" fmla="*/ 195197 h 195197"/>
                <a:gd name="connsiteX2" fmla="*/ 2843 w 150017"/>
                <a:gd name="connsiteY2" fmla="*/ 190773 h 195197"/>
                <a:gd name="connsiteX3" fmla="*/ 0 w 150017"/>
                <a:gd name="connsiteY3" fmla="*/ 180306 h 195197"/>
                <a:gd name="connsiteX4" fmla="*/ 0 w 150017"/>
                <a:gd name="connsiteY4" fmla="*/ 93818 h 195197"/>
                <a:gd name="connsiteX5" fmla="*/ 291 w 150017"/>
                <a:gd name="connsiteY5" fmla="*/ 89646 h 195197"/>
                <a:gd name="connsiteX6" fmla="*/ 12511 w 150017"/>
                <a:gd name="connsiteY6" fmla="*/ 78902 h 195197"/>
                <a:gd name="connsiteX7" fmla="*/ 14431 w 150017"/>
                <a:gd name="connsiteY7" fmla="*/ 78902 h 195197"/>
                <a:gd name="connsiteX8" fmla="*/ 14482 w 150017"/>
                <a:gd name="connsiteY8" fmla="*/ 62999 h 195197"/>
                <a:gd name="connsiteX9" fmla="*/ 15784 w 150017"/>
                <a:gd name="connsiteY9" fmla="*/ 48816 h 195197"/>
                <a:gd name="connsiteX10" fmla="*/ 43888 w 150017"/>
                <a:gd name="connsiteY10" fmla="*/ 8694 h 195197"/>
                <a:gd name="connsiteX11" fmla="*/ 89685 w 150017"/>
                <a:gd name="connsiteY11" fmla="*/ 1856 h 195197"/>
                <a:gd name="connsiteX12" fmla="*/ 121669 w 150017"/>
                <a:gd name="connsiteY12" fmla="*/ 22245 h 195197"/>
                <a:gd name="connsiteX13" fmla="*/ 135216 w 150017"/>
                <a:gd name="connsiteY13" fmla="*/ 56338 h 195197"/>
                <a:gd name="connsiteX14" fmla="*/ 135557 w 150017"/>
                <a:gd name="connsiteY14" fmla="*/ 76702 h 195197"/>
                <a:gd name="connsiteX15" fmla="*/ 135557 w 150017"/>
                <a:gd name="connsiteY15" fmla="*/ 78902 h 195197"/>
                <a:gd name="connsiteX16" fmla="*/ 138994 w 150017"/>
                <a:gd name="connsiteY16" fmla="*/ 78902 h 195197"/>
                <a:gd name="connsiteX17" fmla="*/ 146223 w 150017"/>
                <a:gd name="connsiteY17" fmla="*/ 82163 h 195197"/>
                <a:gd name="connsiteX18" fmla="*/ 149976 w 150017"/>
                <a:gd name="connsiteY18" fmla="*/ 92668 h 195197"/>
                <a:gd name="connsiteX19" fmla="*/ 149963 w 150017"/>
                <a:gd name="connsiteY19" fmla="*/ 181242 h 195197"/>
                <a:gd name="connsiteX20" fmla="*/ 140928 w 150017"/>
                <a:gd name="connsiteY20" fmla="*/ 195185 h 195197"/>
                <a:gd name="connsiteX21" fmla="*/ 110447 w 150017"/>
                <a:gd name="connsiteY21" fmla="*/ 78813 h 195197"/>
                <a:gd name="connsiteX22" fmla="*/ 110447 w 150017"/>
                <a:gd name="connsiteY22" fmla="*/ 60964 h 195197"/>
                <a:gd name="connsiteX23" fmla="*/ 103004 w 150017"/>
                <a:gd name="connsiteY23" fmla="*/ 39222 h 195197"/>
                <a:gd name="connsiteX24" fmla="*/ 65839 w 150017"/>
                <a:gd name="connsiteY24" fmla="*/ 26518 h 195197"/>
                <a:gd name="connsiteX25" fmla="*/ 40059 w 150017"/>
                <a:gd name="connsiteY25" fmla="*/ 55958 h 195197"/>
                <a:gd name="connsiteX26" fmla="*/ 39604 w 150017"/>
                <a:gd name="connsiteY26" fmla="*/ 78396 h 195197"/>
                <a:gd name="connsiteX27" fmla="*/ 39819 w 150017"/>
                <a:gd name="connsiteY27" fmla="*/ 78813 h 195197"/>
                <a:gd name="connsiteX28" fmla="*/ 110473 w 150017"/>
                <a:gd name="connsiteY28" fmla="*/ 78813 h 195197"/>
                <a:gd name="connsiteX29" fmla="*/ 62907 w 150017"/>
                <a:gd name="connsiteY29" fmla="*/ 150802 h 195197"/>
                <a:gd name="connsiteX30" fmla="*/ 62907 w 150017"/>
                <a:gd name="connsiteY30" fmla="*/ 162799 h 195197"/>
                <a:gd name="connsiteX31" fmla="*/ 69668 w 150017"/>
                <a:gd name="connsiteY31" fmla="*/ 169612 h 195197"/>
                <a:gd name="connsiteX32" fmla="*/ 80144 w 150017"/>
                <a:gd name="connsiteY32" fmla="*/ 169612 h 195197"/>
                <a:gd name="connsiteX33" fmla="*/ 87056 w 150017"/>
                <a:gd name="connsiteY33" fmla="*/ 162748 h 195197"/>
                <a:gd name="connsiteX34" fmla="*/ 87056 w 150017"/>
                <a:gd name="connsiteY34" fmla="*/ 142751 h 195197"/>
                <a:gd name="connsiteX35" fmla="*/ 89293 w 150017"/>
                <a:gd name="connsiteY35" fmla="*/ 133712 h 195197"/>
                <a:gd name="connsiteX36" fmla="*/ 87663 w 150017"/>
                <a:gd name="connsiteY36" fmla="*/ 114486 h 195197"/>
                <a:gd name="connsiteX37" fmla="*/ 69339 w 150017"/>
                <a:gd name="connsiteY37" fmla="*/ 109859 h 195197"/>
                <a:gd name="connsiteX38" fmla="*/ 61871 w 150017"/>
                <a:gd name="connsiteY38" fmla="*/ 135709 h 195197"/>
                <a:gd name="connsiteX39" fmla="*/ 62856 w 150017"/>
                <a:gd name="connsiteY39" fmla="*/ 138415 h 195197"/>
                <a:gd name="connsiteX40" fmla="*/ 62907 w 150017"/>
                <a:gd name="connsiteY40" fmla="*/ 150790 h 195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50017" h="195197">
                  <a:moveTo>
                    <a:pt x="140915" y="195197"/>
                  </a:moveTo>
                  <a:lnTo>
                    <a:pt x="9073" y="195197"/>
                  </a:lnTo>
                  <a:cubicBezTo>
                    <a:pt x="6622" y="194249"/>
                    <a:pt x="4410" y="193010"/>
                    <a:pt x="2843" y="190773"/>
                  </a:cubicBezTo>
                  <a:cubicBezTo>
                    <a:pt x="632" y="187613"/>
                    <a:pt x="0" y="184048"/>
                    <a:pt x="0" y="180306"/>
                  </a:cubicBezTo>
                  <a:cubicBezTo>
                    <a:pt x="0" y="151473"/>
                    <a:pt x="0" y="122651"/>
                    <a:pt x="0" y="93818"/>
                  </a:cubicBezTo>
                  <a:cubicBezTo>
                    <a:pt x="0" y="92427"/>
                    <a:pt x="101" y="91024"/>
                    <a:pt x="291" y="89646"/>
                  </a:cubicBezTo>
                  <a:cubicBezTo>
                    <a:pt x="1213" y="82871"/>
                    <a:pt x="5699" y="78952"/>
                    <a:pt x="12511" y="78902"/>
                  </a:cubicBezTo>
                  <a:cubicBezTo>
                    <a:pt x="13117" y="78902"/>
                    <a:pt x="13724" y="78902"/>
                    <a:pt x="14431" y="78902"/>
                  </a:cubicBezTo>
                  <a:cubicBezTo>
                    <a:pt x="14431" y="73403"/>
                    <a:pt x="14267" y="68195"/>
                    <a:pt x="14482" y="62999"/>
                  </a:cubicBezTo>
                  <a:cubicBezTo>
                    <a:pt x="14672" y="58259"/>
                    <a:pt x="14798" y="53430"/>
                    <a:pt x="15784" y="48816"/>
                  </a:cubicBezTo>
                  <a:cubicBezTo>
                    <a:pt x="19448" y="31524"/>
                    <a:pt x="28749" y="17960"/>
                    <a:pt x="43888" y="8694"/>
                  </a:cubicBezTo>
                  <a:cubicBezTo>
                    <a:pt x="58130" y="-15"/>
                    <a:pt x="73573" y="-1949"/>
                    <a:pt x="89685" y="1856"/>
                  </a:cubicBezTo>
                  <a:cubicBezTo>
                    <a:pt x="102663" y="4915"/>
                    <a:pt x="113278" y="11943"/>
                    <a:pt x="121669" y="22245"/>
                  </a:cubicBezTo>
                  <a:cubicBezTo>
                    <a:pt x="129744" y="32156"/>
                    <a:pt x="134420" y="43545"/>
                    <a:pt x="135216" y="56338"/>
                  </a:cubicBezTo>
                  <a:cubicBezTo>
                    <a:pt x="135633" y="63113"/>
                    <a:pt x="135469" y="69914"/>
                    <a:pt x="135557" y="76702"/>
                  </a:cubicBezTo>
                  <a:cubicBezTo>
                    <a:pt x="135557" y="77372"/>
                    <a:pt x="135557" y="78055"/>
                    <a:pt x="135557" y="78902"/>
                  </a:cubicBezTo>
                  <a:cubicBezTo>
                    <a:pt x="136859" y="78902"/>
                    <a:pt x="137933" y="78902"/>
                    <a:pt x="138994" y="78902"/>
                  </a:cubicBezTo>
                  <a:cubicBezTo>
                    <a:pt x="141901" y="78876"/>
                    <a:pt x="144277" y="80039"/>
                    <a:pt x="146223" y="82163"/>
                  </a:cubicBezTo>
                  <a:cubicBezTo>
                    <a:pt x="148952" y="85133"/>
                    <a:pt x="149976" y="88774"/>
                    <a:pt x="149976" y="92668"/>
                  </a:cubicBezTo>
                  <a:cubicBezTo>
                    <a:pt x="150014" y="122196"/>
                    <a:pt x="150052" y="151726"/>
                    <a:pt x="149963" y="181242"/>
                  </a:cubicBezTo>
                  <a:cubicBezTo>
                    <a:pt x="149938" y="187676"/>
                    <a:pt x="147524" y="192859"/>
                    <a:pt x="140928" y="195185"/>
                  </a:cubicBezTo>
                  <a:close/>
                  <a:moveTo>
                    <a:pt x="110447" y="78813"/>
                  </a:moveTo>
                  <a:cubicBezTo>
                    <a:pt x="110447" y="72758"/>
                    <a:pt x="110485" y="66868"/>
                    <a:pt x="110447" y="60964"/>
                  </a:cubicBezTo>
                  <a:cubicBezTo>
                    <a:pt x="110384" y="52900"/>
                    <a:pt x="107869" y="45669"/>
                    <a:pt x="103004" y="39222"/>
                  </a:cubicBezTo>
                  <a:cubicBezTo>
                    <a:pt x="94424" y="27858"/>
                    <a:pt x="79752" y="22827"/>
                    <a:pt x="65839" y="26518"/>
                  </a:cubicBezTo>
                  <a:cubicBezTo>
                    <a:pt x="52368" y="30095"/>
                    <a:pt x="41424" y="42205"/>
                    <a:pt x="40059" y="55958"/>
                  </a:cubicBezTo>
                  <a:cubicBezTo>
                    <a:pt x="39326" y="63379"/>
                    <a:pt x="39718" y="70913"/>
                    <a:pt x="39604" y="78396"/>
                  </a:cubicBezTo>
                  <a:cubicBezTo>
                    <a:pt x="39604" y="78497"/>
                    <a:pt x="39705" y="78611"/>
                    <a:pt x="39819" y="78813"/>
                  </a:cubicBezTo>
                  <a:lnTo>
                    <a:pt x="110473" y="78813"/>
                  </a:lnTo>
                  <a:close/>
                  <a:moveTo>
                    <a:pt x="62907" y="150802"/>
                  </a:moveTo>
                  <a:cubicBezTo>
                    <a:pt x="62907" y="154797"/>
                    <a:pt x="62894" y="158804"/>
                    <a:pt x="62907" y="162799"/>
                  </a:cubicBezTo>
                  <a:cubicBezTo>
                    <a:pt x="62932" y="167375"/>
                    <a:pt x="65144" y="169599"/>
                    <a:pt x="69668" y="169612"/>
                  </a:cubicBezTo>
                  <a:cubicBezTo>
                    <a:pt x="73156" y="169612"/>
                    <a:pt x="76643" y="169612"/>
                    <a:pt x="80144" y="169612"/>
                  </a:cubicBezTo>
                  <a:cubicBezTo>
                    <a:pt x="84845" y="169612"/>
                    <a:pt x="87044" y="167425"/>
                    <a:pt x="87056" y="162748"/>
                  </a:cubicBezTo>
                  <a:cubicBezTo>
                    <a:pt x="87069" y="156086"/>
                    <a:pt x="87094" y="149412"/>
                    <a:pt x="87056" y="142751"/>
                  </a:cubicBezTo>
                  <a:cubicBezTo>
                    <a:pt x="87031" y="139527"/>
                    <a:pt x="87296" y="136696"/>
                    <a:pt x="89293" y="133712"/>
                  </a:cubicBezTo>
                  <a:cubicBezTo>
                    <a:pt x="93375" y="127619"/>
                    <a:pt x="92402" y="120136"/>
                    <a:pt x="87663" y="114486"/>
                  </a:cubicBezTo>
                  <a:cubicBezTo>
                    <a:pt x="83644" y="109682"/>
                    <a:pt x="75683" y="107672"/>
                    <a:pt x="69339" y="109859"/>
                  </a:cubicBezTo>
                  <a:cubicBezTo>
                    <a:pt x="58509" y="113601"/>
                    <a:pt x="54718" y="126823"/>
                    <a:pt x="61871" y="135709"/>
                  </a:cubicBezTo>
                  <a:cubicBezTo>
                    <a:pt x="62452" y="136430"/>
                    <a:pt x="62831" y="137492"/>
                    <a:pt x="62856" y="138415"/>
                  </a:cubicBezTo>
                  <a:cubicBezTo>
                    <a:pt x="62957" y="142535"/>
                    <a:pt x="62907" y="146669"/>
                    <a:pt x="62907" y="15079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738" name="Textfeld 737">
            <a:extLst>
              <a:ext uri="{FF2B5EF4-FFF2-40B4-BE49-F238E27FC236}">
                <a16:creationId xmlns:a16="http://schemas.microsoft.com/office/drawing/2014/main" id="{BFD21505-9B1B-F962-FC1D-6FEAE7909F71}"/>
              </a:ext>
            </a:extLst>
          </p:cNvPr>
          <p:cNvSpPr txBox="1"/>
          <p:nvPr/>
        </p:nvSpPr>
        <p:spPr bwMode="auto">
          <a:xfrm>
            <a:off x="917557" y="2502071"/>
            <a:ext cx="605935" cy="422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200" b="1" kern="0" baseline="0" dirty="0" err="1">
                <a:latin typeface="+mn-lt"/>
                <a:ea typeface="+mn-ea"/>
                <a:cs typeface="+mn-cs"/>
              </a:rPr>
              <a:t>Secured</a:t>
            </a:r>
            <a:br>
              <a:rPr lang="de-DE" sz="1200" b="1" kern="0" baseline="0" dirty="0">
                <a:latin typeface="+mn-lt"/>
                <a:ea typeface="+mn-ea"/>
                <a:cs typeface="+mn-cs"/>
              </a:rPr>
            </a:br>
            <a:r>
              <a:rPr lang="de-DE" sz="1200" b="1" kern="0" baseline="0" dirty="0">
                <a:latin typeface="+mn-lt"/>
                <a:ea typeface="+mn-ea"/>
                <a:cs typeface="+mn-cs"/>
              </a:rPr>
              <a:t>plant</a:t>
            </a:r>
          </a:p>
        </p:txBody>
      </p:sp>
      <p:sp>
        <p:nvSpPr>
          <p:cNvPr id="740" name="Textfeld 739">
            <a:extLst>
              <a:ext uri="{FF2B5EF4-FFF2-40B4-BE49-F238E27FC236}">
                <a16:creationId xmlns:a16="http://schemas.microsoft.com/office/drawing/2014/main" id="{CDFD9165-B318-EF34-CD5A-48674B7B50AE}"/>
              </a:ext>
            </a:extLst>
          </p:cNvPr>
          <p:cNvSpPr txBox="1"/>
          <p:nvPr/>
        </p:nvSpPr>
        <p:spPr bwMode="auto">
          <a:xfrm>
            <a:off x="917557" y="3206078"/>
            <a:ext cx="605935" cy="422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200" b="1" kern="0" baseline="0" dirty="0" err="1">
                <a:latin typeface="+mn-lt"/>
                <a:ea typeface="+mn-ea"/>
                <a:cs typeface="+mn-cs"/>
              </a:rPr>
              <a:t>Secured</a:t>
            </a:r>
            <a:br>
              <a:rPr lang="de-DE" sz="1200" b="1" kern="0" baseline="0" dirty="0">
                <a:latin typeface="+mn-lt"/>
                <a:ea typeface="+mn-ea"/>
                <a:cs typeface="+mn-cs"/>
              </a:rPr>
            </a:br>
            <a:r>
              <a:rPr lang="de-DE" sz="1200" b="1" kern="0" baseline="0" dirty="0">
                <a:latin typeface="+mn-lt"/>
                <a:ea typeface="+mn-ea"/>
                <a:cs typeface="+mn-cs"/>
              </a:rPr>
              <a:t>network</a:t>
            </a:r>
          </a:p>
        </p:txBody>
      </p:sp>
      <p:sp>
        <p:nvSpPr>
          <p:cNvPr id="741" name="Textfeld 740">
            <a:extLst>
              <a:ext uri="{FF2B5EF4-FFF2-40B4-BE49-F238E27FC236}">
                <a16:creationId xmlns:a16="http://schemas.microsoft.com/office/drawing/2014/main" id="{ADD6B892-24EC-17B3-01C7-16901EEAC40B}"/>
              </a:ext>
            </a:extLst>
          </p:cNvPr>
          <p:cNvSpPr txBox="1"/>
          <p:nvPr/>
        </p:nvSpPr>
        <p:spPr bwMode="auto">
          <a:xfrm>
            <a:off x="917557" y="3910085"/>
            <a:ext cx="605935" cy="422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200" b="1" kern="0" baseline="0" dirty="0" err="1">
                <a:latin typeface="+mn-lt"/>
                <a:ea typeface="+mn-ea"/>
                <a:cs typeface="+mn-cs"/>
              </a:rPr>
              <a:t>Secured</a:t>
            </a:r>
            <a:br>
              <a:rPr lang="de-DE" sz="1200" b="1" kern="0" baseline="0" dirty="0">
                <a:latin typeface="+mn-lt"/>
                <a:ea typeface="+mn-ea"/>
                <a:cs typeface="+mn-cs"/>
              </a:rPr>
            </a:br>
            <a:r>
              <a:rPr lang="de-DE" sz="1200" b="1" kern="0" baseline="0" dirty="0" err="1">
                <a:latin typeface="+mn-lt"/>
                <a:ea typeface="+mn-ea"/>
                <a:cs typeface="+mn-cs"/>
              </a:rPr>
              <a:t>system</a:t>
            </a:r>
            <a:endParaRPr lang="de-DE" sz="1200" b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42" name="Textfeld 741">
            <a:extLst>
              <a:ext uri="{FF2B5EF4-FFF2-40B4-BE49-F238E27FC236}">
                <a16:creationId xmlns:a16="http://schemas.microsoft.com/office/drawing/2014/main" id="{8CBFDF72-EB68-39A9-162D-22084DA892B0}"/>
              </a:ext>
            </a:extLst>
          </p:cNvPr>
          <p:cNvSpPr txBox="1"/>
          <p:nvPr/>
        </p:nvSpPr>
        <p:spPr bwMode="auto">
          <a:xfrm>
            <a:off x="917557" y="4614092"/>
            <a:ext cx="830356" cy="422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200" b="1" kern="0" baseline="0" dirty="0" err="1">
                <a:latin typeface="+mn-lt"/>
                <a:ea typeface="+mn-ea"/>
                <a:cs typeface="+mn-cs"/>
              </a:rPr>
              <a:t>Secured</a:t>
            </a:r>
            <a:br>
              <a:rPr lang="de-DE" sz="1200" b="1" kern="0" baseline="0" dirty="0">
                <a:latin typeface="+mn-lt"/>
                <a:ea typeface="+mn-ea"/>
                <a:cs typeface="+mn-cs"/>
              </a:rPr>
            </a:br>
            <a:r>
              <a:rPr lang="de-DE" sz="1200" b="1" kern="0" baseline="0" dirty="0" err="1">
                <a:latin typeface="+mn-lt"/>
                <a:ea typeface="+mn-ea"/>
                <a:cs typeface="+mn-cs"/>
              </a:rPr>
              <a:t>component</a:t>
            </a:r>
            <a:endParaRPr lang="de-DE" sz="1200" b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43" name="Textfeld 742">
            <a:extLst>
              <a:ext uri="{FF2B5EF4-FFF2-40B4-BE49-F238E27FC236}">
                <a16:creationId xmlns:a16="http://schemas.microsoft.com/office/drawing/2014/main" id="{7B0AFE23-560A-DCD2-405E-BDD007630A95}"/>
              </a:ext>
            </a:extLst>
          </p:cNvPr>
          <p:cNvSpPr txBox="1"/>
          <p:nvPr/>
        </p:nvSpPr>
        <p:spPr bwMode="auto">
          <a:xfrm>
            <a:off x="6613361" y="2034400"/>
            <a:ext cx="419987" cy="422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200" b="1" kern="0" baseline="0" dirty="0">
                <a:latin typeface="+mn-lt"/>
                <a:ea typeface="+mn-ea"/>
                <a:cs typeface="+mn-cs"/>
              </a:rPr>
              <a:t>Plant </a:t>
            </a:r>
            <a:br>
              <a:rPr lang="de-DE" sz="1200" b="1" kern="0" baseline="0" dirty="0">
                <a:latin typeface="+mn-lt"/>
                <a:ea typeface="+mn-ea"/>
                <a:cs typeface="+mn-cs"/>
              </a:rPr>
            </a:br>
            <a:r>
              <a:rPr lang="de-DE" sz="1200" b="1" kern="0" baseline="0" dirty="0" err="1">
                <a:latin typeface="+mn-lt"/>
                <a:ea typeface="+mn-ea"/>
                <a:cs typeface="+mn-cs"/>
              </a:rPr>
              <a:t>level</a:t>
            </a:r>
            <a:endParaRPr lang="de-DE" sz="1200" b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44" name="Textfeld 743">
            <a:extLst>
              <a:ext uri="{FF2B5EF4-FFF2-40B4-BE49-F238E27FC236}">
                <a16:creationId xmlns:a16="http://schemas.microsoft.com/office/drawing/2014/main" id="{BED890BD-D1BF-4431-4D60-E967A80E00FC}"/>
              </a:ext>
            </a:extLst>
          </p:cNvPr>
          <p:cNvSpPr txBox="1"/>
          <p:nvPr/>
        </p:nvSpPr>
        <p:spPr bwMode="auto">
          <a:xfrm>
            <a:off x="6613361" y="3967903"/>
            <a:ext cx="974626" cy="422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200" b="1" kern="0" baseline="0" dirty="0" err="1">
                <a:latin typeface="+mn-lt"/>
                <a:ea typeface="+mn-ea"/>
                <a:cs typeface="+mn-cs"/>
              </a:rPr>
              <a:t>Supervisory</a:t>
            </a:r>
            <a:r>
              <a:rPr lang="de-DE" sz="1200" b="1" kern="0" baseline="0" dirty="0">
                <a:latin typeface="+mn-lt"/>
                <a:ea typeface="+mn-ea"/>
                <a:cs typeface="+mn-cs"/>
              </a:rPr>
              <a:t>  </a:t>
            </a:r>
            <a:br>
              <a:rPr lang="de-DE" sz="1200" b="1" kern="0" baseline="0" dirty="0">
                <a:latin typeface="+mn-lt"/>
                <a:ea typeface="+mn-ea"/>
                <a:cs typeface="+mn-cs"/>
              </a:rPr>
            </a:br>
            <a:r>
              <a:rPr lang="de-DE" sz="1200" b="1" kern="0" baseline="0" dirty="0" err="1">
                <a:latin typeface="+mn-lt"/>
                <a:ea typeface="+mn-ea"/>
                <a:cs typeface="+mn-cs"/>
              </a:rPr>
              <a:t>level</a:t>
            </a:r>
            <a:endParaRPr lang="de-DE" sz="1200" b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45" name="Textfeld 744">
            <a:extLst>
              <a:ext uri="{FF2B5EF4-FFF2-40B4-BE49-F238E27FC236}">
                <a16:creationId xmlns:a16="http://schemas.microsoft.com/office/drawing/2014/main" id="{2D34D119-3711-349D-B7FA-8D785A795397}"/>
              </a:ext>
            </a:extLst>
          </p:cNvPr>
          <p:cNvSpPr txBox="1"/>
          <p:nvPr/>
        </p:nvSpPr>
        <p:spPr bwMode="auto">
          <a:xfrm>
            <a:off x="5894405" y="5810663"/>
            <a:ext cx="490519" cy="422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200" b="1" kern="0" baseline="0" dirty="0">
                <a:latin typeface="+mn-lt"/>
                <a:ea typeface="+mn-ea"/>
                <a:cs typeface="+mn-cs"/>
              </a:rPr>
              <a:t>Field   </a:t>
            </a:r>
            <a:br>
              <a:rPr lang="de-DE" sz="1200" b="1" kern="0" baseline="0" dirty="0">
                <a:latin typeface="+mn-lt"/>
                <a:ea typeface="+mn-ea"/>
                <a:cs typeface="+mn-cs"/>
              </a:rPr>
            </a:br>
            <a:r>
              <a:rPr lang="de-DE" sz="1200" b="1" kern="0" baseline="0" dirty="0" err="1">
                <a:latin typeface="+mn-lt"/>
                <a:ea typeface="+mn-ea"/>
                <a:cs typeface="+mn-cs"/>
              </a:rPr>
              <a:t>level</a:t>
            </a:r>
            <a:endParaRPr lang="de-DE" sz="1200" b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46" name="Textfeld 745">
            <a:extLst>
              <a:ext uri="{FF2B5EF4-FFF2-40B4-BE49-F238E27FC236}">
                <a16:creationId xmlns:a16="http://schemas.microsoft.com/office/drawing/2014/main" id="{8C76C19B-B84E-9DB3-A1D8-312D67669EA7}"/>
              </a:ext>
            </a:extLst>
          </p:cNvPr>
          <p:cNvSpPr txBox="1"/>
          <p:nvPr/>
        </p:nvSpPr>
        <p:spPr bwMode="auto">
          <a:xfrm>
            <a:off x="11207405" y="5810663"/>
            <a:ext cx="548227" cy="422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200" b="1" kern="0" baseline="0" dirty="0">
                <a:latin typeface="+mn-lt"/>
                <a:ea typeface="+mn-ea"/>
                <a:cs typeface="+mn-cs"/>
              </a:rPr>
              <a:t>Control</a:t>
            </a:r>
            <a:br>
              <a:rPr lang="de-DE" sz="1200" b="1" kern="0" baseline="0" dirty="0">
                <a:latin typeface="+mn-lt"/>
                <a:ea typeface="+mn-ea"/>
                <a:cs typeface="+mn-cs"/>
              </a:rPr>
            </a:br>
            <a:r>
              <a:rPr lang="de-DE" sz="1200" b="1" kern="0" baseline="0" dirty="0" err="1">
                <a:latin typeface="+mn-lt"/>
                <a:ea typeface="+mn-ea"/>
                <a:cs typeface="+mn-cs"/>
              </a:rPr>
              <a:t>level</a:t>
            </a:r>
            <a:endParaRPr lang="de-DE" sz="1200" b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47" name="Textfeld 746">
            <a:extLst>
              <a:ext uri="{FF2B5EF4-FFF2-40B4-BE49-F238E27FC236}">
                <a16:creationId xmlns:a16="http://schemas.microsoft.com/office/drawing/2014/main" id="{68DE81CE-2981-B11D-1509-F37FF1420926}"/>
              </a:ext>
            </a:extLst>
          </p:cNvPr>
          <p:cNvSpPr txBox="1"/>
          <p:nvPr/>
        </p:nvSpPr>
        <p:spPr bwMode="auto">
          <a:xfrm>
            <a:off x="8367849" y="1338074"/>
            <a:ext cx="812723" cy="134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800" kern="0" baseline="0" dirty="0">
                <a:latin typeface="+mn-lt"/>
                <a:ea typeface="+mn-ea"/>
                <a:cs typeface="+mn-cs"/>
              </a:rPr>
              <a:t>Central Computer</a:t>
            </a:r>
          </a:p>
        </p:txBody>
      </p:sp>
      <p:sp>
        <p:nvSpPr>
          <p:cNvPr id="748" name="Textfeld 747">
            <a:extLst>
              <a:ext uri="{FF2B5EF4-FFF2-40B4-BE49-F238E27FC236}">
                <a16:creationId xmlns:a16="http://schemas.microsoft.com/office/drawing/2014/main" id="{D37C7DF8-F80B-B148-855B-44E3841AEBAB}"/>
              </a:ext>
            </a:extLst>
          </p:cNvPr>
          <p:cNvSpPr txBox="1"/>
          <p:nvPr/>
        </p:nvSpPr>
        <p:spPr bwMode="auto">
          <a:xfrm>
            <a:off x="9808928" y="2036146"/>
            <a:ext cx="302968" cy="134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800" kern="0" baseline="0" dirty="0">
                <a:latin typeface="+mn-lt"/>
                <a:ea typeface="+mn-ea"/>
                <a:cs typeface="+mn-cs"/>
              </a:rPr>
              <a:t>Server</a:t>
            </a:r>
          </a:p>
        </p:txBody>
      </p:sp>
      <p:sp>
        <p:nvSpPr>
          <p:cNvPr id="749" name="Textfeld 748">
            <a:extLst>
              <a:ext uri="{FF2B5EF4-FFF2-40B4-BE49-F238E27FC236}">
                <a16:creationId xmlns:a16="http://schemas.microsoft.com/office/drawing/2014/main" id="{1D685DF5-9D05-5B31-069E-C9BC2F5C99A7}"/>
              </a:ext>
            </a:extLst>
          </p:cNvPr>
          <p:cNvSpPr txBox="1"/>
          <p:nvPr/>
        </p:nvSpPr>
        <p:spPr bwMode="auto">
          <a:xfrm>
            <a:off x="7743121" y="2849812"/>
            <a:ext cx="1054776" cy="134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800" kern="0" baseline="0" dirty="0">
                <a:latin typeface="+mn-lt"/>
                <a:ea typeface="+mn-ea"/>
                <a:cs typeface="+mn-cs"/>
              </a:rPr>
              <a:t>Industrial PC/Panel PC</a:t>
            </a:r>
          </a:p>
        </p:txBody>
      </p:sp>
      <p:sp>
        <p:nvSpPr>
          <p:cNvPr id="751" name="Textfeld 750">
            <a:extLst>
              <a:ext uri="{FF2B5EF4-FFF2-40B4-BE49-F238E27FC236}">
                <a16:creationId xmlns:a16="http://schemas.microsoft.com/office/drawing/2014/main" id="{88EEFE2D-E182-EF04-A153-A1BF6EA4C6C0}"/>
              </a:ext>
            </a:extLst>
          </p:cNvPr>
          <p:cNvSpPr txBox="1"/>
          <p:nvPr/>
        </p:nvSpPr>
        <p:spPr bwMode="auto">
          <a:xfrm>
            <a:off x="8401889" y="3103422"/>
            <a:ext cx="187552" cy="134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8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MI</a:t>
            </a:r>
          </a:p>
        </p:txBody>
      </p:sp>
      <p:sp>
        <p:nvSpPr>
          <p:cNvPr id="752" name="Textfeld 751">
            <a:extLst>
              <a:ext uri="{FF2B5EF4-FFF2-40B4-BE49-F238E27FC236}">
                <a16:creationId xmlns:a16="http://schemas.microsoft.com/office/drawing/2014/main" id="{008AC93F-96B2-2F14-A4C7-2CEFE60357EE}"/>
              </a:ext>
            </a:extLst>
          </p:cNvPr>
          <p:cNvSpPr txBox="1"/>
          <p:nvPr/>
        </p:nvSpPr>
        <p:spPr bwMode="auto">
          <a:xfrm>
            <a:off x="9856773" y="3292057"/>
            <a:ext cx="187552" cy="134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8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MI</a:t>
            </a:r>
          </a:p>
        </p:txBody>
      </p:sp>
      <p:sp>
        <p:nvSpPr>
          <p:cNvPr id="753" name="Textfeld 752">
            <a:extLst>
              <a:ext uri="{FF2B5EF4-FFF2-40B4-BE49-F238E27FC236}">
                <a16:creationId xmlns:a16="http://schemas.microsoft.com/office/drawing/2014/main" id="{125596CA-20D9-69E8-109C-DC054B799448}"/>
              </a:ext>
            </a:extLst>
          </p:cNvPr>
          <p:cNvSpPr txBox="1"/>
          <p:nvPr/>
        </p:nvSpPr>
        <p:spPr bwMode="auto">
          <a:xfrm>
            <a:off x="9761427" y="5821044"/>
            <a:ext cx="187552" cy="134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8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MI</a:t>
            </a:r>
          </a:p>
        </p:txBody>
      </p:sp>
      <p:sp>
        <p:nvSpPr>
          <p:cNvPr id="754" name="Textfeld 753">
            <a:extLst>
              <a:ext uri="{FF2B5EF4-FFF2-40B4-BE49-F238E27FC236}">
                <a16:creationId xmlns:a16="http://schemas.microsoft.com/office/drawing/2014/main" id="{A7919F55-0CB4-3E68-4F01-BCBA46D1D461}"/>
              </a:ext>
            </a:extLst>
          </p:cNvPr>
          <p:cNvSpPr txBox="1"/>
          <p:nvPr/>
        </p:nvSpPr>
        <p:spPr bwMode="auto">
          <a:xfrm>
            <a:off x="8679902" y="4736162"/>
            <a:ext cx="549831" cy="134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8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eld </a:t>
            </a:r>
            <a:r>
              <a:rPr lang="de-DE" sz="800" kern="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device</a:t>
            </a:r>
            <a:endParaRPr lang="de-DE" sz="800" kern="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55" name="Textfeld 754">
            <a:extLst>
              <a:ext uri="{FF2B5EF4-FFF2-40B4-BE49-F238E27FC236}">
                <a16:creationId xmlns:a16="http://schemas.microsoft.com/office/drawing/2014/main" id="{94BFF658-7C5E-9C8C-4D96-F513209B292C}"/>
              </a:ext>
            </a:extLst>
          </p:cNvPr>
          <p:cNvSpPr txBox="1"/>
          <p:nvPr/>
        </p:nvSpPr>
        <p:spPr bwMode="auto">
          <a:xfrm>
            <a:off x="10179390" y="5474716"/>
            <a:ext cx="708527" cy="134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800" kern="0" baseline="0" dirty="0">
                <a:latin typeface="+mn-lt"/>
                <a:ea typeface="+mn-ea"/>
                <a:cs typeface="+mn-cs"/>
              </a:rPr>
              <a:t>PLC/</a:t>
            </a:r>
            <a:r>
              <a:rPr lang="de-DE" sz="800" kern="0" baseline="0" dirty="0" err="1">
                <a:latin typeface="+mn-lt"/>
                <a:ea typeface="+mn-ea"/>
                <a:cs typeface="+mn-cs"/>
              </a:rPr>
              <a:t>micro</a:t>
            </a:r>
            <a:r>
              <a:rPr lang="de-DE" sz="800" kern="0" baseline="0" dirty="0">
                <a:latin typeface="+mn-lt"/>
                <a:ea typeface="+mn-ea"/>
                <a:cs typeface="+mn-cs"/>
              </a:rPr>
              <a:t> PLC</a:t>
            </a:r>
          </a:p>
        </p:txBody>
      </p:sp>
      <p:sp>
        <p:nvSpPr>
          <p:cNvPr id="756" name="Textfeld 755">
            <a:extLst>
              <a:ext uri="{FF2B5EF4-FFF2-40B4-BE49-F238E27FC236}">
                <a16:creationId xmlns:a16="http://schemas.microsoft.com/office/drawing/2014/main" id="{C3705A66-23E4-FFFC-EDB8-59A1959579DF}"/>
              </a:ext>
            </a:extLst>
          </p:cNvPr>
          <p:cNvSpPr txBox="1"/>
          <p:nvPr/>
        </p:nvSpPr>
        <p:spPr bwMode="auto">
          <a:xfrm>
            <a:off x="7304624" y="5626345"/>
            <a:ext cx="708527" cy="134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8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Linear </a:t>
            </a:r>
            <a:r>
              <a:rPr lang="de-DE" sz="800" kern="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ctuator</a:t>
            </a:r>
            <a:endParaRPr lang="de-DE" sz="800" kern="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57" name="Textfeld 756">
            <a:extLst>
              <a:ext uri="{FF2B5EF4-FFF2-40B4-BE49-F238E27FC236}">
                <a16:creationId xmlns:a16="http://schemas.microsoft.com/office/drawing/2014/main" id="{A5F624AA-B450-F0A2-EC13-933D0B9ADFBA}"/>
              </a:ext>
            </a:extLst>
          </p:cNvPr>
          <p:cNvSpPr txBox="1"/>
          <p:nvPr/>
        </p:nvSpPr>
        <p:spPr bwMode="auto">
          <a:xfrm>
            <a:off x="7368553" y="6099896"/>
            <a:ext cx="601127" cy="134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8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tor </a:t>
            </a:r>
            <a:r>
              <a:rPr lang="de-DE" sz="800" kern="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trol</a:t>
            </a:r>
            <a:endParaRPr lang="de-DE" sz="800" kern="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5719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806CAE3-0FFA-6471-1C6B-F7F5DAE6A7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731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6F534964-88F1-3188-966D-D25A9D6C56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iscrete TPM, key Root-of-Trust for multiple applications</a:t>
            </a:r>
          </a:p>
        </p:txBody>
      </p:sp>
      <p:graphicFrame>
        <p:nvGraphicFramePr>
          <p:cNvPr id="36" name="Content Placeholder 20">
            <a:extLst>
              <a:ext uri="{FF2B5EF4-FFF2-40B4-BE49-F238E27FC236}">
                <a16:creationId xmlns:a16="http://schemas.microsoft.com/office/drawing/2014/main" id="{FB43B26B-0F93-3421-C14A-AF7903139F0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7733510"/>
              </p:ext>
            </p:extLst>
          </p:nvPr>
        </p:nvGraphicFramePr>
        <p:xfrm>
          <a:off x="4295800" y="2469791"/>
          <a:ext cx="7561238" cy="4100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8C5A81E7-2B73-F185-3C4E-75D2B90E31EF}"/>
              </a:ext>
            </a:extLst>
          </p:cNvPr>
          <p:cNvSpPr/>
          <p:nvPr/>
        </p:nvSpPr>
        <p:spPr bwMode="auto">
          <a:xfrm>
            <a:off x="334895" y="1268413"/>
            <a:ext cx="3636869" cy="511333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DC6E79CB-3B8A-BF95-1E30-8BE3F997C668}"/>
              </a:ext>
            </a:extLst>
          </p:cNvPr>
          <p:cNvSpPr txBox="1">
            <a:spLocks/>
          </p:cNvSpPr>
          <p:nvPr/>
        </p:nvSpPr>
        <p:spPr bwMode="auto">
          <a:xfrm>
            <a:off x="514452" y="1376772"/>
            <a:ext cx="32412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b" anchorCtr="0">
            <a:noAutofit/>
          </a:bodyPr>
          <a:lstStyle/>
          <a:p>
            <a:pPr defTabSz="914377" fontAlgn="auto">
              <a:spcAft>
                <a:spcPts val="0"/>
              </a:spcAft>
              <a:buClr>
                <a:srgbClr val="FFFFFF"/>
              </a:buClr>
              <a:defRPr/>
            </a:pPr>
            <a:r>
              <a:rPr lang="en-US" sz="1800" b="1" kern="0" dirty="0">
                <a:latin typeface="Arial" panose="020B0604020202020204" pitchFamily="34" charset="0"/>
                <a:cs typeface="Arial" panose="020B0604020202020204" pitchFamily="34" charset="0"/>
              </a:rPr>
              <a:t>Key targets of discrete TPM</a:t>
            </a:r>
          </a:p>
        </p:txBody>
      </p:sp>
      <p:cxnSp>
        <p:nvCxnSpPr>
          <p:cNvPr id="24" name="Gerade Verbindung 33">
            <a:extLst>
              <a:ext uri="{FF2B5EF4-FFF2-40B4-BE49-F238E27FC236}">
                <a16:creationId xmlns:a16="http://schemas.microsoft.com/office/drawing/2014/main" id="{B467AFEA-D13C-E873-F400-0A5AB84DB839}"/>
              </a:ext>
            </a:extLst>
          </p:cNvPr>
          <p:cNvCxnSpPr>
            <a:cxnSpLocks/>
          </p:cNvCxnSpPr>
          <p:nvPr/>
        </p:nvCxnSpPr>
        <p:spPr>
          <a:xfrm>
            <a:off x="514452" y="1772816"/>
            <a:ext cx="3241288" cy="0"/>
          </a:xfrm>
          <a:prstGeom prst="line">
            <a:avLst/>
          </a:prstGeom>
          <a:ln w="9525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DC47F972-775C-6C3A-909A-BE02FB046F41}"/>
              </a:ext>
            </a:extLst>
          </p:cNvPr>
          <p:cNvSpPr txBox="1">
            <a:spLocks/>
          </p:cNvSpPr>
          <p:nvPr/>
        </p:nvSpPr>
        <p:spPr bwMode="auto">
          <a:xfrm>
            <a:off x="4295800" y="1376772"/>
            <a:ext cx="755993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b" anchorCtr="0">
            <a:noAutofit/>
          </a:bodyPr>
          <a:lstStyle/>
          <a:p>
            <a:pPr defTabSz="914377" fontAlgn="auto">
              <a:spcAft>
                <a:spcPts val="0"/>
              </a:spcAft>
              <a:buClr>
                <a:srgbClr val="FFFFFF"/>
              </a:buClr>
              <a:defRPr/>
            </a:pPr>
            <a:r>
              <a:rPr lang="en-US" sz="1800" b="1" kern="0" dirty="0">
                <a:latin typeface="Arial" panose="020B0604020202020204" pitchFamily="34" charset="0"/>
                <a:cs typeface="Arial" panose="020B0604020202020204" pitchFamily="34" charset="0"/>
              </a:rPr>
              <a:t>Forecasted markets for discrete TPM</a:t>
            </a:r>
          </a:p>
        </p:txBody>
      </p:sp>
      <p:cxnSp>
        <p:nvCxnSpPr>
          <p:cNvPr id="26" name="Gerade Verbindung 33">
            <a:extLst>
              <a:ext uri="{FF2B5EF4-FFF2-40B4-BE49-F238E27FC236}">
                <a16:creationId xmlns:a16="http://schemas.microsoft.com/office/drawing/2014/main" id="{013DF6E1-D00F-816F-45DB-3FEE786BD0B1}"/>
              </a:ext>
            </a:extLst>
          </p:cNvPr>
          <p:cNvCxnSpPr>
            <a:cxnSpLocks/>
          </p:cNvCxnSpPr>
          <p:nvPr/>
        </p:nvCxnSpPr>
        <p:spPr>
          <a:xfrm>
            <a:off x="4295800" y="1772816"/>
            <a:ext cx="7560840" cy="0"/>
          </a:xfrm>
          <a:prstGeom prst="line">
            <a:avLst/>
          </a:prstGeom>
          <a:ln w="9525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9B79999B-64B9-D385-1589-2AF0F0696D0A}"/>
              </a:ext>
            </a:extLst>
          </p:cNvPr>
          <p:cNvSpPr txBox="1">
            <a:spLocks/>
          </p:cNvSpPr>
          <p:nvPr/>
        </p:nvSpPr>
        <p:spPr bwMode="auto">
          <a:xfrm>
            <a:off x="4295800" y="1926392"/>
            <a:ext cx="755993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defTabSz="914377" fontAlgn="auto">
              <a:spcAft>
                <a:spcPts val="0"/>
              </a:spcAft>
              <a:buClr>
                <a:srgbClr val="FFFFFF"/>
              </a:buClr>
              <a:defRPr/>
            </a:pPr>
            <a:r>
              <a:rPr lang="en-US" sz="1800" kern="0" dirty="0">
                <a:latin typeface="Arial" panose="020B0604020202020204" pitchFamily="34" charset="0"/>
                <a:cs typeface="Arial" panose="020B0604020202020204" pitchFamily="34" charset="0"/>
              </a:rPr>
              <a:t>A stable base market and significant growth in other segments 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8117FE98-A4A7-1F96-3FAC-93D42D3E51F5}"/>
              </a:ext>
            </a:extLst>
          </p:cNvPr>
          <p:cNvSpPr txBox="1">
            <a:spLocks/>
          </p:cNvSpPr>
          <p:nvPr/>
        </p:nvSpPr>
        <p:spPr bwMode="auto">
          <a:xfrm>
            <a:off x="4295800" y="2228869"/>
            <a:ext cx="562303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defTabSz="914377" fontAlgn="auto">
              <a:spcAft>
                <a:spcPts val="0"/>
              </a:spcAft>
              <a:buClr>
                <a:srgbClr val="FFFFFF"/>
              </a:buClr>
              <a:defRPr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Market size (in M pcs)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632DB266-5AC6-8641-3742-3B13C0C8AD1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79869" y="3456403"/>
            <a:ext cx="594486" cy="594486"/>
          </a:xfrm>
          <a:prstGeom prst="rect">
            <a:avLst/>
          </a:prstGeom>
        </p:spPr>
      </p:pic>
      <p:pic>
        <p:nvPicPr>
          <p:cNvPr id="33" name="Big data">
            <a:extLst>
              <a:ext uri="{FF2B5EF4-FFF2-40B4-BE49-F238E27FC236}">
                <a16:creationId xmlns:a16="http://schemas.microsoft.com/office/drawing/2014/main" id="{C6354FDD-2628-428F-D9A5-125F42CF888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107668" y="5009400"/>
            <a:ext cx="538888" cy="538888"/>
          </a:xfrm>
          <a:prstGeom prst="rect">
            <a:avLst/>
          </a:prstGeom>
        </p:spPr>
      </p:pic>
      <p:pic>
        <p:nvPicPr>
          <p:cNvPr id="34" name="RAM">
            <a:extLst>
              <a:ext uri="{FF2B5EF4-FFF2-40B4-BE49-F238E27FC236}">
                <a16:creationId xmlns:a16="http://schemas.microsoft.com/office/drawing/2014/main" id="{E6911FE2-ECC1-2535-C41F-C7E0734FD5BC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104988" y="2160969"/>
            <a:ext cx="544248" cy="544248"/>
          </a:xfrm>
          <a:prstGeom prst="rect">
            <a:avLst/>
          </a:prstGeom>
        </p:spPr>
      </p:pic>
      <p:sp>
        <p:nvSpPr>
          <p:cNvPr id="35" name="Textfeld 34">
            <a:extLst>
              <a:ext uri="{FF2B5EF4-FFF2-40B4-BE49-F238E27FC236}">
                <a16:creationId xmlns:a16="http://schemas.microsoft.com/office/drawing/2014/main" id="{348997E5-0F6B-5326-6AD4-F8D4CD34D21C}"/>
              </a:ext>
            </a:extLst>
          </p:cNvPr>
          <p:cNvSpPr txBox="1">
            <a:spLocks/>
          </p:cNvSpPr>
          <p:nvPr/>
        </p:nvSpPr>
        <p:spPr bwMode="auto">
          <a:xfrm>
            <a:off x="514452" y="2368293"/>
            <a:ext cx="3241288" cy="571500"/>
          </a:xfrm>
          <a:prstGeom prst="rect">
            <a:avLst/>
          </a:prstGeom>
          <a:ln w="12700"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Professional PCs</a:t>
            </a:r>
          </a:p>
          <a:p>
            <a:pPr>
              <a:lnSpc>
                <a:spcPct val="100000"/>
              </a:lnSpc>
            </a:pPr>
            <a:r>
              <a:rPr lang="en-US" dirty="0"/>
              <a:t>Industrial PCs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40FDEE5C-90DE-C2B4-61C6-90BD083086F5}"/>
              </a:ext>
            </a:extLst>
          </p:cNvPr>
          <p:cNvSpPr txBox="1">
            <a:spLocks/>
          </p:cNvSpPr>
          <p:nvPr/>
        </p:nvSpPr>
        <p:spPr bwMode="auto">
          <a:xfrm>
            <a:off x="514452" y="3688846"/>
            <a:ext cx="3241288" cy="571500"/>
          </a:xfrm>
          <a:prstGeom prst="rect">
            <a:avLst/>
          </a:prstGeom>
          <a:ln w="12700"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dirty="0"/>
              <a:t>Servers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1110F02A-84C3-E0A2-8AA4-322927E34749}"/>
              </a:ext>
            </a:extLst>
          </p:cNvPr>
          <p:cNvSpPr txBox="1">
            <a:spLocks/>
          </p:cNvSpPr>
          <p:nvPr/>
        </p:nvSpPr>
        <p:spPr bwMode="auto">
          <a:xfrm>
            <a:off x="514452" y="5009400"/>
            <a:ext cx="2593216" cy="571500"/>
          </a:xfrm>
          <a:prstGeom prst="rect">
            <a:avLst/>
          </a:prstGeom>
          <a:ln w="12700"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Network Interface Cards</a:t>
            </a:r>
          </a:p>
          <a:p>
            <a:pPr>
              <a:lnSpc>
                <a:spcPct val="100000"/>
              </a:lnSpc>
            </a:pPr>
            <a:r>
              <a:rPr lang="en-US" dirty="0"/>
              <a:t>Networking equipment</a:t>
            </a:r>
          </a:p>
          <a:p>
            <a:pPr>
              <a:lnSpc>
                <a:spcPct val="100000"/>
              </a:lnSpc>
            </a:pPr>
            <a:r>
              <a:rPr lang="en-US" dirty="0"/>
              <a:t>Printers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D0627ECA-0125-3A09-C3E1-D2A196EA13B7}"/>
              </a:ext>
            </a:extLst>
          </p:cNvPr>
          <p:cNvSpPr txBox="1">
            <a:spLocks/>
          </p:cNvSpPr>
          <p:nvPr/>
        </p:nvSpPr>
        <p:spPr bwMode="auto">
          <a:xfrm>
            <a:off x="514452" y="1926392"/>
            <a:ext cx="3241288" cy="28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defTabSz="914377" fontAlgn="auto">
              <a:spcAft>
                <a:spcPts val="0"/>
              </a:spcAft>
              <a:buClr>
                <a:srgbClr val="FFFFFF"/>
              </a:buClr>
              <a:defRPr/>
            </a:pPr>
            <a:r>
              <a:rPr lang="en-US" sz="1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C &amp; laptops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D1EDBA78-5E20-4B89-BEDD-05C6D201DA81}"/>
              </a:ext>
            </a:extLst>
          </p:cNvPr>
          <p:cNvSpPr txBox="1">
            <a:spLocks/>
          </p:cNvSpPr>
          <p:nvPr/>
        </p:nvSpPr>
        <p:spPr bwMode="auto">
          <a:xfrm>
            <a:off x="514452" y="3246945"/>
            <a:ext cx="3241288" cy="28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defTabSz="914377" fontAlgn="auto">
              <a:spcAft>
                <a:spcPts val="0"/>
              </a:spcAft>
              <a:buClr>
                <a:srgbClr val="FFFFFF"/>
              </a:buClr>
              <a:defRPr/>
            </a:pPr>
            <a:r>
              <a:rPr lang="en-US" sz="1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ers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C984FFB4-D2B9-168A-5875-E7BB5B1B46CF}"/>
              </a:ext>
            </a:extLst>
          </p:cNvPr>
          <p:cNvSpPr txBox="1">
            <a:spLocks/>
          </p:cNvSpPr>
          <p:nvPr/>
        </p:nvSpPr>
        <p:spPr bwMode="auto">
          <a:xfrm>
            <a:off x="514452" y="4567498"/>
            <a:ext cx="3241288" cy="28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defTabSz="914377" fontAlgn="auto">
              <a:spcAft>
                <a:spcPts val="0"/>
              </a:spcAft>
              <a:buClr>
                <a:srgbClr val="FFFFFF"/>
              </a:buClr>
              <a:defRPr/>
            </a:pPr>
            <a:r>
              <a:rPr lang="en-US" sz="1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T networking</a:t>
            </a:r>
          </a:p>
        </p:txBody>
      </p:sp>
      <p:cxnSp>
        <p:nvCxnSpPr>
          <p:cNvPr id="52" name="Gerade Verbindung 33">
            <a:extLst>
              <a:ext uri="{FF2B5EF4-FFF2-40B4-BE49-F238E27FC236}">
                <a16:creationId xmlns:a16="http://schemas.microsoft.com/office/drawing/2014/main" id="{B21D1108-9058-9A52-3426-F1A7561A79D1}"/>
              </a:ext>
            </a:extLst>
          </p:cNvPr>
          <p:cNvCxnSpPr>
            <a:cxnSpLocks/>
          </p:cNvCxnSpPr>
          <p:nvPr/>
        </p:nvCxnSpPr>
        <p:spPr>
          <a:xfrm>
            <a:off x="514452" y="3093369"/>
            <a:ext cx="3241288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3">
            <a:extLst>
              <a:ext uri="{FF2B5EF4-FFF2-40B4-BE49-F238E27FC236}">
                <a16:creationId xmlns:a16="http://schemas.microsoft.com/office/drawing/2014/main" id="{920C8CED-BCD3-CEC3-5D02-5202DD869FF3}"/>
              </a:ext>
            </a:extLst>
          </p:cNvPr>
          <p:cNvCxnSpPr>
            <a:cxnSpLocks/>
          </p:cNvCxnSpPr>
          <p:nvPr/>
        </p:nvCxnSpPr>
        <p:spPr>
          <a:xfrm>
            <a:off x="514452" y="4413922"/>
            <a:ext cx="3241288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6728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010BE580-F4EF-371B-2B64-A51F79F90E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0464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Folie" r:id="rId8" imgW="344" imgH="345" progId="TCLayout.ActiveDocument.1">
                  <p:embed/>
                </p:oleObj>
              </mc:Choice>
              <mc:Fallback>
                <p:oleObj name="think-cell Folie" r:id="rId8" imgW="344" imgH="345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0BE580-F4EF-371B-2B64-A51F79F90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02F73F-1E7D-1A3A-2B6F-E9E7C88B6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 vert="horz"/>
          <a:lstStyle/>
          <a:p>
            <a:r>
              <a:rPr lang="en-US" dirty="0"/>
              <a:t>Quick facts about TPM with an I2C interface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964CE72-48FE-02B1-AAEC-D9867BF40A2E}"/>
              </a:ext>
            </a:extLst>
          </p:cNvPr>
          <p:cNvSpPr txBox="1"/>
          <p:nvPr/>
        </p:nvSpPr>
        <p:spPr bwMode="auto">
          <a:xfrm>
            <a:off x="334434" y="1499321"/>
            <a:ext cx="2012963" cy="30187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solidFill>
                  <a:schemeClr val="dk1"/>
                </a:solidFill>
              </a:rPr>
              <a:t>Smart factory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0F3C920-17B7-BCC3-0EDF-E041BA03ACB8}"/>
              </a:ext>
            </a:extLst>
          </p:cNvPr>
          <p:cNvSpPr txBox="1"/>
          <p:nvPr/>
        </p:nvSpPr>
        <p:spPr bwMode="auto">
          <a:xfrm>
            <a:off x="2716533" y="1499321"/>
            <a:ext cx="2012963" cy="30187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solidFill>
                  <a:schemeClr val="dk1"/>
                </a:solidFill>
              </a:rPr>
              <a:t>Smart building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76B5D10-4746-3D43-73D0-D697FE21FED9}"/>
              </a:ext>
            </a:extLst>
          </p:cNvPr>
          <p:cNvSpPr txBox="1"/>
          <p:nvPr/>
        </p:nvSpPr>
        <p:spPr bwMode="auto">
          <a:xfrm>
            <a:off x="5093490" y="1499321"/>
            <a:ext cx="2012400" cy="30187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solidFill>
                  <a:schemeClr val="dk1"/>
                </a:solidFill>
              </a:rPr>
              <a:t>IoT networking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1D1A0D2-0CB8-5B1A-7178-211FCC6275ED}"/>
              </a:ext>
            </a:extLst>
          </p:cNvPr>
          <p:cNvSpPr txBox="1"/>
          <p:nvPr/>
        </p:nvSpPr>
        <p:spPr bwMode="auto">
          <a:xfrm>
            <a:off x="7470162" y="1247201"/>
            <a:ext cx="2012400" cy="5539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solidFill>
                  <a:schemeClr val="dk1"/>
                </a:solidFill>
              </a:rPr>
              <a:t>Programmable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solidFill>
                  <a:schemeClr val="dk1"/>
                </a:solidFill>
              </a:rPr>
              <a:t>Logic Controller</a:t>
            </a:r>
          </a:p>
        </p:txBody>
      </p:sp>
      <p:sp>
        <p:nvSpPr>
          <p:cNvPr id="16" name="Freeform 7">
            <a:extLst>
              <a:ext uri="{FF2B5EF4-FFF2-40B4-BE49-F238E27FC236}">
                <a16:creationId xmlns:a16="http://schemas.microsoft.com/office/drawing/2014/main" id="{9FAB7CD8-4D62-84CC-B993-A082CE6EB1AE}"/>
              </a:ext>
            </a:extLst>
          </p:cNvPr>
          <p:cNvSpPr>
            <a:spLocks/>
          </p:cNvSpPr>
          <p:nvPr/>
        </p:nvSpPr>
        <p:spPr bwMode="auto">
          <a:xfrm>
            <a:off x="9851981" y="1874989"/>
            <a:ext cx="2012963" cy="2361569"/>
          </a:xfrm>
          <a:prstGeom prst="rect">
            <a:avLst/>
          </a:prstGeom>
          <a:solidFill>
            <a:schemeClr val="tx2"/>
          </a:solidFill>
          <a:ln w="11113" cap="flat">
            <a:solidFill>
              <a:schemeClr val="tx2"/>
            </a:solidFill>
            <a:prstDash val="solid"/>
            <a:miter lim="800000"/>
            <a:headEnd/>
            <a:tailEnd/>
          </a:ln>
          <a:scene3d>
            <a:camera prst="orthographicFront"/>
            <a:lightRig rig="balanced" dir="t"/>
          </a:scene3d>
          <a:sp3d extrusionH="419100" prstMaterial="dkEdge"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Target </a:t>
            </a:r>
            <a:br>
              <a:rPr lang="en-US" sz="1800" b="1" dirty="0">
                <a:solidFill>
                  <a:schemeClr val="bg1"/>
                </a:solidFill>
              </a:rPr>
            </a:br>
            <a:r>
              <a:rPr lang="en-US" sz="1800" b="1" dirty="0">
                <a:solidFill>
                  <a:schemeClr val="bg1"/>
                </a:solidFill>
              </a:rPr>
              <a:t>applications</a:t>
            </a:r>
          </a:p>
        </p:txBody>
      </p:sp>
      <p:sp>
        <p:nvSpPr>
          <p:cNvPr id="17" name="Freeform 9">
            <a:extLst>
              <a:ext uri="{FF2B5EF4-FFF2-40B4-BE49-F238E27FC236}">
                <a16:creationId xmlns:a16="http://schemas.microsoft.com/office/drawing/2014/main" id="{B62BBE0F-F388-8951-FCDB-97D0040F9025}"/>
              </a:ext>
            </a:extLst>
          </p:cNvPr>
          <p:cNvSpPr>
            <a:spLocks/>
          </p:cNvSpPr>
          <p:nvPr/>
        </p:nvSpPr>
        <p:spPr bwMode="auto">
          <a:xfrm>
            <a:off x="2714515" y="1874989"/>
            <a:ext cx="2012963" cy="2361569"/>
          </a:xfrm>
          <a:prstGeom prst="rect">
            <a:avLst/>
          </a:prstGeom>
          <a:noFill/>
          <a:ln w="11113" cap="flat">
            <a:solidFill>
              <a:schemeClr val="bg2"/>
            </a:solidFill>
            <a:prstDash val="solid"/>
            <a:miter lim="800000"/>
            <a:headEnd/>
            <a:tailEnd/>
          </a:ln>
          <a:scene3d>
            <a:camera prst="orthographicFront"/>
            <a:lightRig rig="balanced" dir="t"/>
          </a:scene3d>
          <a:sp3d extrusionH="266700" prstMaterial="dkEdge"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Freeform 9">
            <a:extLst>
              <a:ext uri="{FF2B5EF4-FFF2-40B4-BE49-F238E27FC236}">
                <a16:creationId xmlns:a16="http://schemas.microsoft.com/office/drawing/2014/main" id="{51AD3136-04DD-E6B0-C9B0-A4DD74766A30}"/>
              </a:ext>
            </a:extLst>
          </p:cNvPr>
          <p:cNvSpPr>
            <a:spLocks/>
          </p:cNvSpPr>
          <p:nvPr/>
        </p:nvSpPr>
        <p:spPr bwMode="auto">
          <a:xfrm>
            <a:off x="7472826" y="1874989"/>
            <a:ext cx="2012963" cy="2361569"/>
          </a:xfrm>
          <a:prstGeom prst="rect">
            <a:avLst/>
          </a:prstGeom>
          <a:noFill/>
          <a:ln w="11113" cap="flat">
            <a:solidFill>
              <a:schemeClr val="bg2"/>
            </a:solidFill>
            <a:prstDash val="solid"/>
            <a:miter lim="800000"/>
            <a:headEnd/>
            <a:tailEnd/>
          </a:ln>
          <a:scene3d>
            <a:camera prst="orthographicFront"/>
            <a:lightRig rig="balanced" dir="t"/>
          </a:scene3d>
          <a:sp3d extrusionH="266700" prstMaterial="dkEdge"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ED46AD9-D245-1E4C-1777-E50DDD7C5D7A}"/>
              </a:ext>
            </a:extLst>
          </p:cNvPr>
          <p:cNvSpPr>
            <a:spLocks/>
          </p:cNvSpPr>
          <p:nvPr/>
        </p:nvSpPr>
        <p:spPr bwMode="auto">
          <a:xfrm>
            <a:off x="5093670" y="1874989"/>
            <a:ext cx="2012963" cy="2361569"/>
          </a:xfrm>
          <a:prstGeom prst="rect">
            <a:avLst/>
          </a:prstGeom>
          <a:noFill/>
          <a:ln w="11113" cap="flat">
            <a:solidFill>
              <a:schemeClr val="bg2"/>
            </a:solidFill>
            <a:prstDash val="solid"/>
            <a:miter lim="800000"/>
            <a:headEnd/>
            <a:tailEnd/>
          </a:ln>
          <a:scene3d>
            <a:camera prst="orthographicFront"/>
            <a:lightRig rig="balanced" dir="t"/>
          </a:scene3d>
          <a:sp3d extrusionH="419100" prstMaterial="dkEdge"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pic>
        <p:nvPicPr>
          <p:cNvPr id="30" name="Industrial robot">
            <a:extLst>
              <a:ext uri="{FF2B5EF4-FFF2-40B4-BE49-F238E27FC236}">
                <a16:creationId xmlns:a16="http://schemas.microsoft.com/office/drawing/2014/main" id="{A53989F4-B8B9-2926-FA30-A27A84D3E9F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2973" y="2556904"/>
            <a:ext cx="997738" cy="997738"/>
          </a:xfrm>
          <a:prstGeom prst="rect">
            <a:avLst/>
          </a:prstGeom>
        </p:spPr>
      </p:pic>
      <p:pic>
        <p:nvPicPr>
          <p:cNvPr id="31" name="Big data">
            <a:extLst>
              <a:ext uri="{FF2B5EF4-FFF2-40B4-BE49-F238E27FC236}">
                <a16:creationId xmlns:a16="http://schemas.microsoft.com/office/drawing/2014/main" id="{A7BA3F7C-2D1E-A649-B690-0A7DA3B33FE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01283" y="2556904"/>
            <a:ext cx="997738" cy="997738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2F544E78-BC32-07BD-19DA-1F43FB27502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977495" y="2556904"/>
            <a:ext cx="997738" cy="997738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239323F-4960-A47D-09D1-7A3FF1B510B9}"/>
              </a:ext>
            </a:extLst>
          </p:cNvPr>
          <p:cNvGrpSpPr>
            <a:grpSpLocks/>
          </p:cNvGrpSpPr>
          <p:nvPr/>
        </p:nvGrpSpPr>
        <p:grpSpPr>
          <a:xfrm>
            <a:off x="2714515" y="4778224"/>
            <a:ext cx="9140935" cy="1603104"/>
            <a:chOff x="2996168" y="4876301"/>
            <a:chExt cx="5762493" cy="1603104"/>
          </a:xfrm>
        </p:grpSpPr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7FBA2E8F-0DE5-A2D7-6AAC-B590BA161DF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996168" y="4876301"/>
              <a:ext cx="5762493" cy="1603104"/>
            </a:xfrm>
            <a:prstGeom prst="rect">
              <a:avLst/>
            </a:prstGeom>
            <a:ln w="9525">
              <a:noFill/>
            </a:ln>
          </p:spPr>
          <p:txBody>
            <a:bodyPr vert="horz" lIns="0" tIns="108000" rIns="0" bIns="0" rtlCol="0">
              <a:noAutofit/>
            </a:bodyPr>
            <a:lstStyle>
              <a:defPPr>
                <a:defRPr lang="en-US"/>
              </a:defPPr>
              <a:lvl1pPr marL="252000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sz="1800" baseline="0">
                  <a:latin typeface="+mn-lt"/>
                </a:defRPr>
              </a:lvl1pPr>
              <a:lvl2pPr marL="504000" lvl="1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sz="1600">
                  <a:latin typeface="+mn-lt"/>
                </a:defRPr>
              </a:lvl2pPr>
              <a:lvl3pPr marL="756000" lvl="2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3pPr>
              <a:lvl4pPr marL="853200" indent="-2844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4pPr>
              <a:lvl5pPr marL="853200" indent="-2844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5pPr>
              <a:lvl6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6pPr>
              <a:lvl7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7pPr>
              <a:lvl8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8pPr>
              <a:lvl9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9pPr>
            </a:lstStyle>
            <a:p>
              <a:pPr>
                <a:lnSpc>
                  <a:spcPct val="100000"/>
                </a:lnSpc>
              </a:pPr>
              <a:r>
                <a:rPr lang="en-US" sz="1200" dirty="0"/>
                <a:t>Fully standardized certified security solution </a:t>
              </a:r>
              <a:r>
                <a:rPr lang="en-US" sz="1200" b="1" dirty="0"/>
                <a:t>supporting future-proof PQC-protected FW Update mechanism </a:t>
              </a:r>
            </a:p>
            <a:p>
              <a:pPr>
                <a:lnSpc>
                  <a:spcPct val="100000"/>
                </a:lnSpc>
              </a:pPr>
              <a:r>
                <a:rPr lang="en-US" sz="1200" dirty="0"/>
                <a:t>Allows </a:t>
              </a:r>
              <a:r>
                <a:rPr lang="en-US" sz="1200" b="1" dirty="0"/>
                <a:t>trusted and secured communications </a:t>
              </a:r>
              <a:r>
                <a:rPr lang="en-US" sz="1200" dirty="0"/>
                <a:t>with I2C up to 1MHz</a:t>
              </a:r>
            </a:p>
            <a:p>
              <a:pPr>
                <a:lnSpc>
                  <a:spcPct val="100000"/>
                </a:lnSpc>
              </a:pPr>
              <a:r>
                <a:rPr lang="en-US" sz="1200" dirty="0"/>
                <a:t>Supports the </a:t>
              </a:r>
              <a:r>
                <a:rPr lang="en-US" sz="1200" b="1" dirty="0"/>
                <a:t>latest TPM 2.0 specs </a:t>
              </a:r>
              <a:r>
                <a:rPr lang="en-US" sz="1200" dirty="0"/>
                <a:t>and corresponding security requirements</a:t>
              </a:r>
            </a:p>
            <a:p>
              <a:pPr>
                <a:lnSpc>
                  <a:spcPct val="100000"/>
                </a:lnSpc>
              </a:pPr>
              <a:r>
                <a:rPr lang="en-US" sz="1200" dirty="0"/>
                <a:t>Meets demanding requirements with operating temperature range </a:t>
              </a:r>
              <a:r>
                <a:rPr lang="en-US" sz="1200" b="1" dirty="0"/>
                <a:t>from -40 up to +105°C</a:t>
              </a:r>
            </a:p>
            <a:p>
              <a:pPr>
                <a:lnSpc>
                  <a:spcPct val="100000"/>
                </a:lnSpc>
              </a:pPr>
              <a:r>
                <a:rPr lang="en-US" sz="1200" dirty="0"/>
                <a:t>Simple integration with </a:t>
              </a:r>
              <a:r>
                <a:rPr lang="en-US" sz="1200" b="1" dirty="0"/>
                <a:t>Linux-based OS</a:t>
              </a:r>
              <a:r>
                <a:rPr lang="en-US" sz="1200" dirty="0"/>
                <a:t> thanks to easy-to-understand materials </a:t>
              </a:r>
              <a:br>
                <a:rPr lang="en-US" sz="1200" dirty="0"/>
              </a:br>
              <a:r>
                <a:rPr lang="en-US" sz="1200" dirty="0"/>
                <a:t>and sample codes on GitHub</a:t>
              </a:r>
            </a:p>
            <a:p>
              <a:pPr>
                <a:lnSpc>
                  <a:spcPct val="100000"/>
                </a:lnSpc>
              </a:pPr>
              <a:r>
                <a:rPr lang="en-US" sz="1200" dirty="0"/>
                <a:t>Well suited for embedded system where </a:t>
              </a:r>
              <a:r>
                <a:rPr lang="en-US" sz="1200" b="1" dirty="0"/>
                <a:t>simplicity of design and lower system BOM cost </a:t>
              </a:r>
              <a:r>
                <a:rPr lang="en-US" sz="1200" dirty="0"/>
                <a:t>are important</a:t>
              </a: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9E9A824D-1644-9790-2DF3-1F218C16362F}"/>
                </a:ext>
              </a:extLst>
            </p:cNvPr>
            <p:cNvSpPr/>
            <p:nvPr/>
          </p:nvSpPr>
          <p:spPr bwMode="auto">
            <a:xfrm>
              <a:off x="2996168" y="4876301"/>
              <a:ext cx="5762493" cy="508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endParaRPr lang="de-DE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37" name="Chip">
            <a:extLst>
              <a:ext uri="{FF2B5EF4-FFF2-40B4-BE49-F238E27FC236}">
                <a16:creationId xmlns:a16="http://schemas.microsoft.com/office/drawing/2014/main" id="{9CEA8C06-B367-E4FD-EA4A-2548CB85127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848528" y="5262761"/>
            <a:ext cx="776454" cy="776454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996AFE5E-03EB-9B17-C6A7-E2A41C69EF48}"/>
              </a:ext>
            </a:extLst>
          </p:cNvPr>
          <p:cNvSpPr>
            <a:spLocks/>
          </p:cNvSpPr>
          <p:nvPr/>
        </p:nvSpPr>
        <p:spPr bwMode="auto">
          <a:xfrm>
            <a:off x="335360" y="1874989"/>
            <a:ext cx="2012963" cy="508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3C59BE5-6B7B-0696-0A22-CF61D1EF9BEC}"/>
              </a:ext>
            </a:extLst>
          </p:cNvPr>
          <p:cNvSpPr>
            <a:spLocks/>
          </p:cNvSpPr>
          <p:nvPr/>
        </p:nvSpPr>
        <p:spPr bwMode="auto">
          <a:xfrm>
            <a:off x="2714515" y="1874989"/>
            <a:ext cx="2012963" cy="508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6B3D83B5-0F55-221E-200C-EDCD90A03DB0}"/>
              </a:ext>
            </a:extLst>
          </p:cNvPr>
          <p:cNvSpPr>
            <a:spLocks/>
          </p:cNvSpPr>
          <p:nvPr/>
        </p:nvSpPr>
        <p:spPr bwMode="auto">
          <a:xfrm>
            <a:off x="5093670" y="1874989"/>
            <a:ext cx="2012963" cy="508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30843414-BABD-0094-1DDB-F5E39C728F40}"/>
              </a:ext>
            </a:extLst>
          </p:cNvPr>
          <p:cNvSpPr>
            <a:spLocks/>
          </p:cNvSpPr>
          <p:nvPr/>
        </p:nvSpPr>
        <p:spPr bwMode="auto">
          <a:xfrm>
            <a:off x="7472826" y="1874989"/>
            <a:ext cx="2012963" cy="508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2" name="Picture 28">
            <a:extLst>
              <a:ext uri="{FF2B5EF4-FFF2-40B4-BE49-F238E27FC236}">
                <a16:creationId xmlns:a16="http://schemas.microsoft.com/office/drawing/2014/main" id="{195707A1-367F-6FB5-D180-DCE1FC681C2A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434" y="4854204"/>
            <a:ext cx="2123622" cy="1451142"/>
          </a:xfrm>
          <a:prstGeom prst="rect">
            <a:avLst/>
          </a:prstGeom>
        </p:spPr>
      </p:pic>
      <p:pic>
        <p:nvPicPr>
          <p:cNvPr id="29" name="Smart home">
            <a:extLst>
              <a:ext uri="{FF2B5EF4-FFF2-40B4-BE49-F238E27FC236}">
                <a16:creationId xmlns:a16="http://schemas.microsoft.com/office/drawing/2014/main" id="{33FE05AE-2D81-A4F5-A7B7-86DE1FE8104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302652" y="2637429"/>
            <a:ext cx="836689" cy="836689"/>
          </a:xfrm>
          <a:prstGeom prst="rect">
            <a:avLst/>
          </a:prstGeom>
        </p:spPr>
      </p:pic>
      <p:sp>
        <p:nvSpPr>
          <p:cNvPr id="33" name="Freeform 5">
            <a:extLst>
              <a:ext uri="{FF2B5EF4-FFF2-40B4-BE49-F238E27FC236}">
                <a16:creationId xmlns:a16="http://schemas.microsoft.com/office/drawing/2014/main" id="{6DAE896A-7A51-69BB-65B2-4A9E4FC85576}"/>
              </a:ext>
            </a:extLst>
          </p:cNvPr>
          <p:cNvSpPr>
            <a:spLocks/>
          </p:cNvSpPr>
          <p:nvPr/>
        </p:nvSpPr>
        <p:spPr bwMode="auto">
          <a:xfrm>
            <a:off x="334895" y="1874989"/>
            <a:ext cx="2012963" cy="2361569"/>
          </a:xfrm>
          <a:prstGeom prst="rect">
            <a:avLst/>
          </a:pr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scene3d>
            <a:camera prst="orthographicFront"/>
            <a:lightRig rig="balanced" dir="t"/>
          </a:scene3d>
          <a:sp3d extrusionH="266700" prstMaterial="dkEdge"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7863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9445A7B-3F6B-DB7E-3BA7-711338E8D95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57220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Q&amp;A">
            <a:extLst>
              <a:ext uri="{FF2B5EF4-FFF2-40B4-BE49-F238E27FC236}">
                <a16:creationId xmlns:a16="http://schemas.microsoft.com/office/drawing/2014/main" id="{BC7D0D3E-74CE-0C5F-A2E1-3C3E568F4D56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52" r="-135"/>
          <a:stretch/>
        </p:blipFill>
        <p:spPr>
          <a:xfrm>
            <a:off x="4293988" y="-3"/>
            <a:ext cx="7914916" cy="6858006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7554DB7-5C53-185A-BFA4-52361BA0EAB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00000">
            <a:off x="-646348" y="638133"/>
            <a:ext cx="6858002" cy="5581737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9F323937-F848-46C0-5A71-7071E5D6EDE6}"/>
              </a:ext>
            </a:extLst>
          </p:cNvPr>
          <p:cNvSpPr txBox="1"/>
          <p:nvPr/>
        </p:nvSpPr>
        <p:spPr bwMode="auto">
          <a:xfrm>
            <a:off x="334434" y="1448780"/>
            <a:ext cx="394265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US" sz="3600" b="1" kern="0" dirty="0">
                <a:solidFill>
                  <a:schemeClr val="tx2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Future challenges </a:t>
            </a:r>
            <a:br>
              <a:rPr lang="en-US" sz="3600" b="1" kern="0" dirty="0">
                <a:solidFill>
                  <a:schemeClr val="tx2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</a:br>
            <a:r>
              <a:rPr lang="en-US" sz="3600" b="1" kern="0" dirty="0">
                <a:solidFill>
                  <a:schemeClr val="tx2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for TP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1313236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010BE580-F4EF-371B-2B64-A51F79F90E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Folie" r:id="rId8" imgW="344" imgH="345" progId="TCLayout.ActiveDocument.1">
                  <p:embed/>
                </p:oleObj>
              </mc:Choice>
              <mc:Fallback>
                <p:oleObj name="think-cell Folie" r:id="rId8" imgW="344" imgH="345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0BE580-F4EF-371B-2B64-A51F79F90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Tablet">
            <a:extLst>
              <a:ext uri="{FF2B5EF4-FFF2-40B4-BE49-F238E27FC236}">
                <a16:creationId xmlns:a16="http://schemas.microsoft.com/office/drawing/2014/main" id="{2DB8998D-671F-0D8A-BCAA-F6E81DC989A4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77084" y="3177"/>
            <a:ext cx="7914916" cy="685482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D8D07F7-40D1-3A31-F038-835AE8D875C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5400000">
            <a:off x="-646348" y="638133"/>
            <a:ext cx="6858002" cy="5581737"/>
          </a:xfrm>
          <a:prstGeom prst="rect">
            <a:avLst/>
          </a:prstGeom>
        </p:spPr>
      </p:pic>
      <p:sp>
        <p:nvSpPr>
          <p:cNvPr id="13" name="TextBox">
            <a:extLst>
              <a:ext uri="{FF2B5EF4-FFF2-40B4-BE49-F238E27FC236}">
                <a16:creationId xmlns:a16="http://schemas.microsoft.com/office/drawing/2014/main" id="{80534B03-FA69-46D4-5FD4-DE3A8974A794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334434" y="2537848"/>
            <a:ext cx="3601326" cy="11079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solidFill>
                  <a:schemeClr val="tx2"/>
                </a:solidFill>
              </a:rPr>
              <a:t>Within the next 10 to 20 years, </a:t>
            </a:r>
            <a:br>
              <a:rPr lang="en-US" dirty="0">
                <a:solidFill>
                  <a:schemeClr val="tx2"/>
                </a:solidFill>
              </a:rPr>
            </a:br>
            <a:r>
              <a:rPr lang="en-US" dirty="0"/>
              <a:t>quantum computer attacks on today’s cryptography are expected to become reality.</a:t>
            </a:r>
          </a:p>
        </p:txBody>
      </p:sp>
      <p:sp>
        <p:nvSpPr>
          <p:cNvPr id="14" name="TextBox">
            <a:extLst>
              <a:ext uri="{FF2B5EF4-FFF2-40B4-BE49-F238E27FC236}">
                <a16:creationId xmlns:a16="http://schemas.microsoft.com/office/drawing/2014/main" id="{1791867D-4C86-C7F2-D4DC-7B04826D22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334434" y="1278032"/>
            <a:ext cx="4429418" cy="84561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400" b="1" dirty="0">
                <a:solidFill>
                  <a:schemeClr val="tx2"/>
                </a:solidFill>
              </a:rPr>
              <a:t>The threat of quantum computers </a:t>
            </a:r>
            <a:r>
              <a:rPr lang="en-US" sz="2400" b="1">
                <a:solidFill>
                  <a:schemeClr val="tx2"/>
                </a:solidFill>
              </a:rPr>
              <a:t>to cryptography</a:t>
            </a:r>
            <a:endParaRPr lang="en-US" sz="2400" b="1" dirty="0">
              <a:solidFill>
                <a:schemeClr val="tx2"/>
              </a:solidFill>
            </a:endParaRPr>
          </a:p>
        </p:txBody>
      </p:sp>
      <p:pic>
        <p:nvPicPr>
          <p:cNvPr id="15" name="Database">
            <a:extLst>
              <a:ext uri="{FF2B5EF4-FFF2-40B4-BE49-F238E27FC236}">
                <a16:creationId xmlns:a16="http://schemas.microsoft.com/office/drawing/2014/main" id="{7764F007-8CF9-02D0-BD5D-A876B9E4462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91484" y="4789821"/>
            <a:ext cx="126000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192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a70e386-d044-47cd-ab93-2021eed1cc92"/>
  <p:tag name="MIO_GUID" val="3efa10bf-163d-4447-a3c2-4ec6eb3f379c"/>
  <p:tag name="MIO_UPDATE" val="True"/>
  <p:tag name="MIO_VERSION" val="09.03.2023 23:52:02"/>
  <p:tag name="MIO_DBID" val="0F45B44C-9BC7-4D85-81C4-7155EE70A7B9"/>
  <p:tag name="MIO_LASTDOWNLOADED" val="10.03.2023 00:59:17.100"/>
  <p:tag name="MIO_OBJECTNAME" val="Picture 21"/>
  <p:tag name="MIO_LASTEDITORNAME" val=" Verena Kohl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52b26d6-8665-4b25-8dbc-34334bbbee4b"/>
  <p:tag name="MIO_GUID" val="88e48e30-f8f9-4bb9-8291-cf55b6eee107"/>
  <p:tag name="MIO_UPDATE" val="True"/>
  <p:tag name="MIO_VERSION" val="05.03.2023 11:08:39"/>
  <p:tag name="MIO_DBID" val="FDE84254-54DB-49E3-9A0E-CDE72035D530"/>
  <p:tag name="MIO_LASTDOWNLOADED" val="28.03.2023 09:57:19.630"/>
  <p:tag name="MIO_OBJECTNAME" val="Award"/>
  <p:tag name="MIO_LASTEDITORNAME" val="Verena Kohl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a49dec4b-da6f-488b-92d3-205209d67bef"/>
  <p:tag name="MIO_UPDATE" val="True"/>
  <p:tag name="MIO_VERSION" val="06.02.2023 10:34:47"/>
  <p:tag name="MIO_DBID" val="0F45B44C-9BC7-4D85-81C4-7155EE70A7B9"/>
  <p:tag name="MIO_LASTDOWNLOADED" val="07.02.2023 12:29:31.707"/>
  <p:tag name="MIO_OBJECTNAME" val="TextBox"/>
  <p:tag name="MIO_LASTEDITORNAME" val=" Verena Koh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a49dec4b-da6f-488b-92d3-205209d67bef"/>
  <p:tag name="MIO_UPDATE" val="True"/>
  <p:tag name="MIO_VERSION" val="06.02.2023 10:34:47"/>
  <p:tag name="MIO_DBID" val="0F45B44C-9BC7-4D85-81C4-7155EE70A7B9"/>
  <p:tag name="MIO_LASTDOWNLOADED" val="07.02.2023 12:29:31.707"/>
  <p:tag name="MIO_OBJECTNAME" val="TextBox"/>
  <p:tag name="MIO_LASTEDITORNAME" val=" Verena Kohl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a49dec4b-da6f-488b-92d3-205209d67bef"/>
  <p:tag name="MIO_UPDATE" val="True"/>
  <p:tag name="MIO_VERSION" val="06.02.2023 10:34:47"/>
  <p:tag name="MIO_DBID" val="0F45B44C-9BC7-4D85-81C4-7155EE70A7B9"/>
  <p:tag name="MIO_LASTDOWNLOADED" val="07.02.2023 12:29:31.707"/>
  <p:tag name="MIO_OBJECTNAME" val="TextBox"/>
  <p:tag name="MIO_LASTEDITORNAME" val=" Verena Kohl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a49dec4b-da6f-488b-92d3-205209d67bef"/>
  <p:tag name="MIO_UPDATE" val="True"/>
  <p:tag name="MIO_VERSION" val="06.02.2023 10:34:47"/>
  <p:tag name="MIO_DBID" val="0F45B44C-9BC7-4D85-81C4-7155EE70A7B9"/>
  <p:tag name="MIO_LASTDOWNLOADED" val="07.02.2023 12:29:31.707"/>
  <p:tag name="MIO_OBJECTNAME" val="TextBox"/>
  <p:tag name="MIO_LASTEDITORNAME" val=" Verena Kohl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fa6463a-692a-4976-9543-d330499a8049"/>
  <p:tag name="MIO_GUID" val="14d520a2-0480-4e42-87e5-de8a38489afc"/>
  <p:tag name="MIO_UPDATE" val="True"/>
  <p:tag name="MIO_VERSION" val="05.03.2023 11:19:10"/>
  <p:tag name="MIO_DBID" val="FDE84254-54DB-49E3-9A0E-CDE72035D530"/>
  <p:tag name="MIO_LASTDOWNLOADED" val="28.03.2023 09:56:53.840"/>
  <p:tag name="MIO_OBJECTNAME" val="Web"/>
  <p:tag name="MIO_LASTEDITORNAME" val="Verena Kohl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5652a13-2d64-4419-b42a-121d643c88e9"/>
  <p:tag name="MIO_GUID" val="c7a2189e-dc62-4028-b0a2-6043b367c8b2"/>
  <p:tag name="MIO_UPDATE" val="True"/>
  <p:tag name="MIO_VERSION" val="05.03.2023 11:14:51"/>
  <p:tag name="MIO_DBID" val="FDE84254-54DB-49E3-9A0E-CDE72035D530"/>
  <p:tag name="MIO_LASTDOWNLOADED" val="28.03.2023 09:57:01.456"/>
  <p:tag name="MIO_OBJECTNAME" val="RAM"/>
  <p:tag name="MIO_LASTEDITORNAME" val="Verena Kohl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a1c4618-2f82-43da-85ff-f40c5fbe4a99"/>
  <p:tag name="MIO_GUID" val="512a953f-736f-45e8-b11d-8cea7a7d19df"/>
  <p:tag name="MIO_UPDATE" val="True"/>
  <p:tag name="MIO_VERSION" val="05.03.2023 11:13:09"/>
  <p:tag name="MIO_DBID" val="FDE84254-54DB-49E3-9A0E-CDE72035D530"/>
  <p:tag name="MIO_LASTDOWNLOADED" val="28.03.2023 09:57:08.117"/>
  <p:tag name="MIO_OBJECTNAME" val="Key"/>
  <p:tag name="MIO_LASTEDITORNAME" val="Verena Kohl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4b5f6dc-c680-4d43-bfc8-0a1773bd4a95"/>
  <p:tag name="MIO_GUID" val="b68c1c78-2044-4089-bb36-763a537f5f23"/>
  <p:tag name="MIO_UPDATE" val="True"/>
  <p:tag name="MIO_VERSION" val="23.11.2020 11:34:54"/>
  <p:tag name="MIO_DBID" val="0F45B44C-9BC7-4D85-81C4-7155EE70A7B9"/>
  <p:tag name="MIO_LASTDOWNLOADED" val="23.11.2020 12:42:10.483"/>
  <p:tag name="MIO_OBJECTNAME" val="Smartphone Interaction"/>
  <p:tag name="MIO_LASTEDITORNAME" val=" Verena Kohl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2f7aad-aa87-408b-a033-dc4e06a8b2e2"/>
  <p:tag name="MIO_EKGUID" val="1abdc234-c83f-4229-91fa-eca783239f30"/>
  <p:tag name="MIO_UPDATE" val="True"/>
  <p:tag name="MIO_VERSION" val="16.03.2023 11:11:44"/>
  <p:tag name="MIO_DBID" val="FDE84254-54DB-49E3-9A0E-CDE72035D530"/>
  <p:tag name="MIO_LASTDOWNLOADED" val="22.03.2023 10:44:04.083"/>
  <p:tag name="MIO_OBJECTNAME" val="Q&amp;A, white 02"/>
  <p:tag name="MIO_LASTEDITORNAME" val="Verena Kohl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2866d57-75f9-4245-8895-8d8e77b6599e"/>
  <p:tag name="MIO_GUID" val="1c8ce232-1c36-43d9-8fcb-8d0112eee9bc"/>
  <p:tag name="MIO_UPDATE" val="True"/>
  <p:tag name="MIO_VERSION" val="23.11.2020 19:40:03"/>
  <p:tag name="MIO_DBID" val="0F45B44C-9BC7-4D85-81C4-7155EE70A7B9"/>
  <p:tag name="MIO_LASTDOWNLOADED" val="23.11.2020 20:41:31.572"/>
  <p:tag name="MIO_OBJECTNAME" val="Q&amp;A"/>
  <p:tag name="MIO_LASTEDITORNAME" val=" Verena Kohl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7a7be58-cdc0-4e4e-b136-0bce89c28fd8"/>
  <p:tag name="MIO_GUID" val="ab715020-26d2-4d91-87fd-f38bc955b2cb"/>
  <p:tag name="MIO_UPDATE" val="True"/>
  <p:tag name="MIO_VERSION" val="05.03.2023 11:09:01"/>
  <p:tag name="MIO_DBID" val="FDE84254-54DB-49E3-9A0E-CDE72035D530"/>
  <p:tag name="MIO_LASTDOWNLOADED" val="28.03.2023 09:57:18.358"/>
  <p:tag name="MIO_OBJECTNAME" val="Big data"/>
  <p:tag name="MIO_LASTEDITORNAME" val="Verena Kohl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5652a13-2d64-4419-b42a-121d643c88e9"/>
  <p:tag name="MIO_GUID" val="c7a2189e-dc62-4028-b0a2-6043b367c8b2"/>
  <p:tag name="MIO_UPDATE" val="True"/>
  <p:tag name="MIO_VERSION" val="05.03.2023 11:14:51"/>
  <p:tag name="MIO_DBID" val="FDE84254-54DB-49E3-9A0E-CDE72035D530"/>
  <p:tag name="MIO_LASTDOWNLOADED" val="28.03.2023 09:57:01.456"/>
  <p:tag name="MIO_OBJECTNAME" val="RAM"/>
  <p:tag name="MIO_LASTEDITORNAME" val="Verena Kohl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70de319-5e92-4137-b857-4d1e0978cc01"/>
  <p:tag name="MIO_GUID" val="ea08e921-279d-4d87-8f46-8c30412fbfe0"/>
  <p:tag name="MIO_UPDATE" val="True"/>
  <p:tag name="MIO_VERSION" val="05.03.2023 11:13:02"/>
  <p:tag name="MIO_DBID" val="FDE84254-54DB-49E3-9A0E-CDE72035D530"/>
  <p:tag name="MIO_LASTDOWNLOADED" val="28.03.2023 09:57:08.451"/>
  <p:tag name="MIO_OBJECTNAME" val="Industrial robot"/>
  <p:tag name="MIO_LASTEDITORNAME" val="Verena Kohl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7a7be58-cdc0-4e4e-b136-0bce89c28fd8"/>
  <p:tag name="MIO_GUID" val="ab715020-26d2-4d91-87fd-f38bc955b2cb"/>
  <p:tag name="MIO_UPDATE" val="True"/>
  <p:tag name="MIO_VERSION" val="05.03.2023 11:09:01"/>
  <p:tag name="MIO_DBID" val="FDE84254-54DB-49E3-9A0E-CDE72035D530"/>
  <p:tag name="MIO_LASTDOWNLOADED" val="28.03.2023 09:57:18.358"/>
  <p:tag name="MIO_OBJECTNAME" val="Big data"/>
  <p:tag name="MIO_LASTEDITORNAME" val="Verena Kohl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92c822b-a9f8-464b-8e0c-3a87c8de70b6"/>
  <p:tag name="MIO_GUID" val="598c33cf-bfe0-4370-9eb7-d3736fd269b7"/>
  <p:tag name="MIO_UPDATE" val="True"/>
  <p:tag name="MIO_VERSION" val="05.03.2023 11:09:38"/>
  <p:tag name="MIO_DBID" val="FDE84254-54DB-49E3-9A0E-CDE72035D530"/>
  <p:tag name="MIO_LASTDOWNLOADED" val="28.03.2023 09:57:15.880"/>
  <p:tag name="MIO_OBJECTNAME" val="Chip"/>
  <p:tag name="MIO_LASTEDITORNAME" val="Verena Kohl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dcc6d81-f2da-4d88-b511-38f114f3b79b"/>
  <p:tag name="MIO_GUID" val="159705ac-f0d6-4e82-9d66-e88ff5340194"/>
  <p:tag name="MIO_UPDATE" val="True"/>
  <p:tag name="MIO_VERSION" val="05.03.2023 11:17:43"/>
  <p:tag name="MIO_DBID" val="FDE84254-54DB-49E3-9A0E-CDE72035D530"/>
  <p:tag name="MIO_LASTDOWNLOADED" val="28.03.2023 09:56:59.077"/>
  <p:tag name="MIO_OBJECTNAME" val="Smart home"/>
  <p:tag name="MIO_LASTEDITORNAME" val="Verena Koh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2f7aad-aa87-408b-a033-dc4e06a8b2e2"/>
  <p:tag name="MIO_EKGUID" val="1abdc234-c83f-4229-91fa-eca783239f30"/>
  <p:tag name="MIO_UPDATE" val="True"/>
  <p:tag name="MIO_VERSION" val="16.03.2023 11:11:44"/>
  <p:tag name="MIO_DBID" val="FDE84254-54DB-49E3-9A0E-CDE72035D530"/>
  <p:tag name="MIO_LASTDOWNLOADED" val="22.03.2023 10:44:04.083"/>
  <p:tag name="MIO_OBJECTNAME" val="Q&amp;A, white 02"/>
  <p:tag name="MIO_LASTEDITORNAME" val="Verena Kohl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2866d57-75f9-4245-8895-8d8e77b6599e"/>
  <p:tag name="MIO_GUID" val="1c8ce232-1c36-43d9-8fcb-8d0112eee9bc"/>
  <p:tag name="MIO_UPDATE" val="True"/>
  <p:tag name="MIO_VERSION" val="23.11.2020 19:40:03"/>
  <p:tag name="MIO_DBID" val="0F45B44C-9BC7-4D85-81C4-7155EE70A7B9"/>
  <p:tag name="MIO_LASTDOWNLOADED" val="23.11.2020 20:41:31.572"/>
  <p:tag name="MIO_OBJECTNAME" val="Q&amp;A"/>
  <p:tag name="MIO_LASTEDITORNAME" val=" Verena Kohl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4a34fbee-69d9-4a50-85a8-23bb5ae0e54e"/>
  <p:tag name="MIO_GUID" val="ddf3d363-2763-447d-9c6d-b1911348aa0a"/>
  <p:tag name="MIO_UPDATE" val="True"/>
  <p:tag name="MIO_VERSION" val="23.11.2020 19:40:20"/>
  <p:tag name="MIO_DBID" val="0F45B44C-9BC7-4D85-81C4-7155EE70A7B9"/>
  <p:tag name="MIO_LASTDOWNLOADED" val="23.11.2020 20:42:18.759"/>
  <p:tag name="MIO_OBJECTNAME" val="Tablet"/>
  <p:tag name="MIO_LASTEDITORNAME" val=" Verena Kohl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a49dec4b-da6f-488b-92d3-205209d67bef"/>
  <p:tag name="MIO_UPDATE" val="True"/>
  <p:tag name="MIO_VERSION" val="06.02.2023 10:34:47"/>
  <p:tag name="MIO_DBID" val="0F45B44C-9BC7-4D85-81C4-7155EE70A7B9"/>
  <p:tag name="MIO_LASTDOWNLOADED" val="07.02.2023 12:29:31.707"/>
  <p:tag name="MIO_OBJECTNAME" val="TextBox"/>
  <p:tag name="MIO_LASTEDITORNAME" val=" Verena Kohl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21fc0c97-dbdf-4ed3-92bb-e8337d86f69c"/>
  <p:tag name="MIO_UPDATE" val="True"/>
  <p:tag name="MIO_VERSION" val="06.02.2023 10:34:47"/>
  <p:tag name="MIO_DBID" val="0F45B44C-9BC7-4D85-81C4-7155EE70A7B9"/>
  <p:tag name="MIO_LASTDOWNLOADED" val="06.02.2023 17:16:40.264"/>
  <p:tag name="MIO_OBJECTNAME" val="TextBox"/>
  <p:tag name="MIO_LASTEDITORNAME" val=" Verena Kohl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2ffbac5-91a0-4b7d-83c9-cf207a5a1040"/>
  <p:tag name="MIO_GUID" val="a0363755-b261-465c-8990-4ff93f3ccf0c"/>
  <p:tag name="MIO_UPDATE" val="True"/>
  <p:tag name="MIO_VERSION" val="05.03.2023 11:10:09"/>
  <p:tag name="MIO_DBID" val="FDE84254-54DB-49E3-9A0E-CDE72035D530"/>
  <p:tag name="MIO_LASTDOWNLOADED" val="28.03.2023 09:57:13.753"/>
  <p:tag name="MIO_OBJECTNAME" val="Database"/>
  <p:tag name="MIO_LASTEDITORNAME" val="Verena Kohl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d7a357c-c7f0-4d77-ac59-e9fbbe85f32f"/>
  <p:tag name="MIO_GUID" val="f34e49c8-1cd6-4229-95c8-1cefd45b0754"/>
  <p:tag name="MIO_UPDATE" val="True"/>
  <p:tag name="MIO_VERSION" val="05.03.2023 11:17:46"/>
  <p:tag name="MIO_DBID" val="FDE84254-54DB-49E3-9A0E-CDE72035D530"/>
  <p:tag name="MIO_LASTDOWNLOADED" val="28.03.2023 09:56:58.885"/>
  <p:tag name="MIO_OBJECTNAME" val="Smartphone"/>
  <p:tag name="MIO_LASTEDITORNAME" val="Verena Kohl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9bb85dc-7a9a-4727-b2a9-6b65f7a775ed"/>
  <p:tag name="MIO_GUID" val="6b23e9ad-a774-4d56-8207-75cbd0ab88bd"/>
  <p:tag name="MIO_UPDATE" val="True"/>
  <p:tag name="MIO_VERSION" val="05.03.2023 11:09:16"/>
  <p:tag name="MIO_DBID" val="FDE84254-54DB-49E3-9A0E-CDE72035D530"/>
  <p:tag name="MIO_LASTDOWNLOADED" val="28.03.2023 09:57:17.461"/>
  <p:tag name="MIO_OBJECTNAME" val="Car"/>
  <p:tag name="MIO_LASTEDITORNAME" val="Verena Kohl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70de319-5e92-4137-b857-4d1e0978cc01"/>
  <p:tag name="MIO_GUID" val="ea08e921-279d-4d87-8f46-8c30412fbfe0"/>
  <p:tag name="MIO_UPDATE" val="True"/>
  <p:tag name="MIO_VERSION" val="05.03.2023 11:13:02"/>
  <p:tag name="MIO_DBID" val="FDE84254-54DB-49E3-9A0E-CDE72035D530"/>
  <p:tag name="MIO_LASTDOWNLOADED" val="28.03.2023 09:57:08.451"/>
  <p:tag name="MIO_OBJECTNAME" val="Industrial robot"/>
  <p:tag name="MIO_LASTEDITORNAME" val="Verena Kohl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4a34fbee-69d9-4a50-85a8-23bb5ae0e54e"/>
  <p:tag name="MIO_GUID" val="ddf3d363-2763-447d-9c6d-b1911348aa0a"/>
  <p:tag name="MIO_UPDATE" val="True"/>
  <p:tag name="MIO_VERSION" val="23.11.2020 19:40:20"/>
  <p:tag name="MIO_DBID" val="0F45B44C-9BC7-4D85-81C4-7155EE70A7B9"/>
  <p:tag name="MIO_LASTDOWNLOADED" val="23.11.2020 20:42:18.759"/>
  <p:tag name="MIO_OBJECTNAME" val="Tablet"/>
  <p:tag name="MIO_LASTEDITORNAME" val=" Verena Kohl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a49dec4b-da6f-488b-92d3-205209d67bef"/>
  <p:tag name="MIO_UPDATE" val="True"/>
  <p:tag name="MIO_VERSION" val="06.02.2023 10:34:47"/>
  <p:tag name="MIO_DBID" val="0F45B44C-9BC7-4D85-81C4-7155EE70A7B9"/>
  <p:tag name="MIO_LASTDOWNLOADED" val="07.02.2023 12:29:31.707"/>
  <p:tag name="MIO_OBJECTNAME" val="TextBox"/>
  <p:tag name="MIO_LASTEDITORNAME" val=" Verena Kohl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92c822b-a9f8-464b-8e0c-3a87c8de70b6"/>
  <p:tag name="MIO_GUID" val="598c33cf-bfe0-4370-9eb7-d3736fd269b7"/>
  <p:tag name="MIO_UPDATE" val="True"/>
  <p:tag name="MIO_VERSION" val="05.03.2023 11:09:38"/>
  <p:tag name="MIO_DBID" val="FDE84254-54DB-49E3-9A0E-CDE72035D530"/>
  <p:tag name="MIO_LASTDOWNLOADED" val="28.03.2023 09:57:15.880"/>
  <p:tag name="MIO_OBJECTNAME" val="Chip"/>
  <p:tag name="MIO_LASTEDITORNAME" val="Verena Kohl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1026cd1-132b-4b4a-a608-07a1d4f710ce"/>
  <p:tag name="MIO_GUID" val="ef56be31-7e27-4b33-96f0-afb885726107"/>
  <p:tag name="MIO_UPDATE" val="True"/>
  <p:tag name="MIO_VERSION" val="05.03.2023 11:08:23"/>
  <p:tag name="MIO_DBID" val="FDE84254-54DB-49E3-9A0E-CDE72035D530"/>
  <p:tag name="MIO_LASTDOWNLOADED" val="28.03.2023 09:57:20.549"/>
  <p:tag name="MIO_OBJECTNAME" val="AI"/>
  <p:tag name="MIO_LASTEDITORNAME" val="Verena Kohl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93adcbf1-0d75-44dd-b95c-15a44b06e19f"/>
  <p:tag name="MIO_GUID" val="b451a44d-831d-4629-b9be-f3d61a569276"/>
  <p:tag name="MIO_UPDATE" val="True"/>
  <p:tag name="MIO_VERSION" val="05.03.2023 11:14:02"/>
  <p:tag name="MIO_DBID" val="FDE84254-54DB-49E3-9A0E-CDE72035D530"/>
  <p:tag name="MIO_LASTDOWNLOADED" val="28.03.2023 09:57:04.793"/>
  <p:tag name="MIO_OBJECTNAME" val="Network"/>
  <p:tag name="MIO_LASTEDITORNAME" val="Verena Kohl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bd454c-9bbc-4a06-981f-8a094b227744"/>
  <p:tag name="MIO_GUID" val="3b853239-cd8f-4040-a56b-0ae06b04765d"/>
  <p:tag name="MIO_UPDATE" val="True"/>
  <p:tag name="MIO_VERSION" val="05.03.2023 11:10:00"/>
  <p:tag name="MIO_DBID" val="FDE84254-54DB-49E3-9A0E-CDE72035D530"/>
  <p:tag name="MIO_LASTDOWNLOADED" val="28.03.2023 09:57:14.549"/>
  <p:tag name="MIO_OBJECTNAME" val="Connection shield"/>
  <p:tag name="MIO_LASTEDITORNAME" val="Verena Kohl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52b26d6-8665-4b25-8dbc-34334bbbee4b"/>
  <p:tag name="MIO_GUID" val="88e48e30-f8f9-4bb9-8291-cf55b6eee107"/>
  <p:tag name="MIO_UPDATE" val="True"/>
  <p:tag name="MIO_VERSION" val="05.03.2023 11:08:39"/>
  <p:tag name="MIO_DBID" val="FDE84254-54DB-49E3-9A0E-CDE72035D530"/>
  <p:tag name="MIO_LASTDOWNLOADED" val="28.03.2023 09:57:19.630"/>
  <p:tag name="MIO_OBJECTNAME" val="Award"/>
  <p:tag name="MIO_LASTEDITORNAME" val="Verena Kohl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52b26d6-8665-4b25-8dbc-34334bbbee4b"/>
  <p:tag name="MIO_GUID" val="88e48e30-f8f9-4bb9-8291-cf55b6eee107"/>
  <p:tag name="MIO_UPDATE" val="True"/>
  <p:tag name="MIO_VERSION" val="05.03.2023 11:08:39"/>
  <p:tag name="MIO_DBID" val="FDE84254-54DB-49E3-9A0E-CDE72035D530"/>
  <p:tag name="MIO_LASTDOWNLOADED" val="28.03.2023 09:57:19.630"/>
  <p:tag name="MIO_OBJECTNAME" val="Award"/>
  <p:tag name="MIO_LASTEDITORNAME" val="Verena Kohl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adce545-eed5-4939-a99e-390aafd58b33"/>
  <p:tag name="MIO_GUID" val="cea0d0a0-7492-4810-b878-f086d5bc19e1"/>
  <p:tag name="MIO_UPDATE" val="True"/>
  <p:tag name="MIO_VERSION" val="05.03.2023 11:18:26"/>
  <p:tag name="MIO_DBID" val="FDE84254-54DB-49E3-9A0E-CDE72035D530"/>
  <p:tag name="MIO_LASTDOWNLOADED" val="28.03.2023 09:56:56.559"/>
  <p:tag name="MIO_OBJECTNAME" val="Thumb up"/>
  <p:tag name="MIO_LASTEDITORNAME" val="Verena Kohl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fa6463a-692a-4976-9543-d330499a8049"/>
  <p:tag name="MIO_GUID" val="14d520a2-0480-4e42-87e5-de8a38489afc"/>
  <p:tag name="MIO_UPDATE" val="True"/>
  <p:tag name="MIO_VERSION" val="05.03.2023 11:19:10"/>
  <p:tag name="MIO_DBID" val="FDE84254-54DB-49E3-9A0E-CDE72035D530"/>
  <p:tag name="MIO_LASTDOWNLOADED" val="28.03.2023 09:56:53.840"/>
  <p:tag name="MIO_OBJECTNAME" val="Web"/>
  <p:tag name="MIO_LASTEDITORNAME" val="Verena Kohl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52b26d6-8665-4b25-8dbc-34334bbbee4b"/>
  <p:tag name="MIO_GUID" val="88e48e30-f8f9-4bb9-8291-cf55b6eee107"/>
  <p:tag name="MIO_UPDATE" val="True"/>
  <p:tag name="MIO_VERSION" val="05.03.2023 11:08:39"/>
  <p:tag name="MIO_DBID" val="FDE84254-54DB-49E3-9A0E-CDE72035D530"/>
  <p:tag name="MIO_LASTDOWNLOADED" val="28.03.2023 09:57:19.630"/>
  <p:tag name="MIO_OBJECTNAME" val="Award"/>
  <p:tag name="MIO_LASTEDITORNAME" val="Verena Kohl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fa6463a-692a-4976-9543-d330499a8049"/>
  <p:tag name="MIO_GUID" val="14d520a2-0480-4e42-87e5-de8a38489afc"/>
  <p:tag name="MIO_UPDATE" val="True"/>
  <p:tag name="MIO_VERSION" val="05.03.2023 11:19:10"/>
  <p:tag name="MIO_DBID" val="FDE84254-54DB-49E3-9A0E-CDE72035D530"/>
  <p:tag name="MIO_LASTDOWNLOADED" val="28.03.2023 09:56:53.840"/>
  <p:tag name="MIO_OBJECTNAME" val="Web"/>
  <p:tag name="MIO_LASTEDITORNAME" val="Verena Koh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d25b587-860e-48f8-a554-a9293719228f"/>
  <p:tag name="MIO_GUID" val="53a637da-b80a-46fc-8889-26e47d2a4855"/>
  <p:tag name="MIO_UPDATE" val="True"/>
  <p:tag name="MIO_VERSION" val="05.03.2023 11:08:33"/>
  <p:tag name="MIO_DBID" val="FDE84254-54DB-49E3-9A0E-CDE72035D530"/>
  <p:tag name="MIO_LASTDOWNLOADED" val="28.03.2023 09:57:19.977"/>
  <p:tag name="MIO_OBJECTNAME" val="Attention"/>
  <p:tag name="MIO_LASTEDITORNAME" val="Verena Kohl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d25b587-860e-48f8-a554-a9293719228f"/>
  <p:tag name="MIO_GUID" val="53a637da-b80a-46fc-8889-26e47d2a4855"/>
  <p:tag name="MIO_UPDATE" val="True"/>
  <p:tag name="MIO_VERSION" val="05.03.2023 11:08:33"/>
  <p:tag name="MIO_DBID" val="FDE84254-54DB-49E3-9A0E-CDE72035D530"/>
  <p:tag name="MIO_LASTDOWNLOADED" val="28.03.2023 09:57:19.977"/>
  <p:tag name="MIO_OBJECTNAME" val="Attention"/>
  <p:tag name="MIO_LASTEDITORNAME" val="Verena Kohl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2f7aad-aa87-408b-a033-dc4e06a8b2e2"/>
  <p:tag name="MIO_EKGUID" val="1abdc234-c83f-4229-91fa-eca783239f30"/>
  <p:tag name="MIO_UPDATE" val="True"/>
  <p:tag name="MIO_VERSION" val="16.03.2023 11:11:44"/>
  <p:tag name="MIO_DBID" val="FDE84254-54DB-49E3-9A0E-CDE72035D530"/>
  <p:tag name="MIO_LASTDOWNLOADED" val="22.03.2023 10:44:04.083"/>
  <p:tag name="MIO_OBJECTNAME" val="Q&amp;A, white 02"/>
  <p:tag name="MIO_LASTEDITORNAME" val="Verena Kohl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ca3f5f3-1fe9-489c-80ea-c540615478da"/>
  <p:tag name="MIO_GUID" val="259a1317-a662-4e76-a887-ebdf83d14cec"/>
  <p:tag name="MIO_UPDATE" val="True"/>
  <p:tag name="MIO_VERSION" val="09.03.2023 23:51:39"/>
  <p:tag name="MIO_DBID" val="0F45B44C-9BC7-4D85-81C4-7155EE70A7B9"/>
  <p:tag name="MIO_LASTDOWNLOADED" val="16.03.2023 08:14:24.627"/>
  <p:tag name="MIO_OBJECTNAME" val="Picture 15"/>
  <p:tag name="MIO_LASTEDITORNAME" val=" Verena Kohl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937cb6c-866c-4cff-92ee-a3042a2f37a3"/>
  <p:tag name="MIO_GUID" val="d9cb53b3-9c80-40a4-9f97-57c9a0be0f04"/>
  <p:tag name="MIO_UPDATE" val="True"/>
  <p:tag name="MIO_VERSION" val="05.03.2023 11:19:13"/>
  <p:tag name="MIO_DBID" val="FDE84254-54DB-49E3-9A0E-CDE72035D530"/>
  <p:tag name="MIO_LASTDOWNLOADED" val="28.03.2023 09:56:53.660"/>
  <p:tag name="MIO_OBJECTNAME" val="Webinar"/>
  <p:tag name="MIO_LASTEDITORNAME" val="Verena Kohl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1c70cb8-96fa-4909-9766-e8c91b4bdc51"/>
  <p:tag name="MIO_GUID" val="ef0da41b-e3ab-4c8b-bb62-4f6fb903f195"/>
  <p:tag name="MIO_UPDATE" val="True"/>
  <p:tag name="MIO_VERSION" val="05.03.2023 11:12:20"/>
  <p:tag name="MIO_DBID" val="FDE84254-54DB-49E3-9A0E-CDE72035D530"/>
  <p:tag name="MIO_LASTDOWNLOADED" val="28.03.2023 09:57:11.224"/>
  <p:tag name="MIO_OBJECTNAME" val="Gear wheels"/>
  <p:tag name="MIO_LASTEDITORNAME" val="Verena Koh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5043f89-ec66-4172-a4a8-e64cf5225343"/>
  <p:tag name="MIO_GUID" val="61b77268-7b2e-478c-8277-9c2834722e25"/>
  <p:tag name="MIO_UPDATE" val="True"/>
  <p:tag name="MIO_VERSION" val="05.03.2023 11:13:24"/>
  <p:tag name="MIO_DBID" val="FDE84254-54DB-49E3-9A0E-CDE72035D530"/>
  <p:tag name="MIO_LASTDOWNLOADED" val="28.03.2023 09:57:06.999"/>
  <p:tag name="MIO_OBJECTNAME" val="Light"/>
  <p:tag name="MIO_LASTEDITORNAME" val="Verena Kohl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92c822b-a9f8-464b-8e0c-3a87c8de70b6"/>
  <p:tag name="MIO_GUID" val="598c33cf-bfe0-4370-9eb7-d3736fd269b7"/>
  <p:tag name="MIO_UPDATE" val="True"/>
  <p:tag name="MIO_VERSION" val="05.03.2023 11:09:38"/>
  <p:tag name="MIO_DBID" val="FDE84254-54DB-49E3-9A0E-CDE72035D530"/>
  <p:tag name="MIO_LASTDOWNLOADED" val="28.03.2023 09:57:15.880"/>
  <p:tag name="MIO_OBJECTNAME" val="Chip"/>
  <p:tag name="MIO_LASTEDITORNAME" val="Verena Kohl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a1c4618-2f82-43da-85ff-f40c5fbe4a99"/>
  <p:tag name="MIO_GUID" val="512a953f-736f-45e8-b11d-8cea7a7d19df"/>
  <p:tag name="MIO_UPDATE" val="True"/>
  <p:tag name="MIO_VERSION" val="05.03.2023 11:13:09"/>
  <p:tag name="MIO_DBID" val="FDE84254-54DB-49E3-9A0E-CDE72035D530"/>
  <p:tag name="MIO_LASTDOWNLOADED" val="28.03.2023 09:57:08.117"/>
  <p:tag name="MIO_OBJECTNAME" val="Key"/>
  <p:tag name="MIO_LASTEDITORNAME" val="Verena Kohl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48645aeb-56dd-47df-bd8c-68bf4212d86e"/>
  <p:tag name="MIO_GUID" val="d8020c34-0556-43fa-86fd-cb5c94bfd3a3"/>
  <p:tag name="MIO_UPDATE" val="True"/>
  <p:tag name="MIO_VERSION" val="05.03.2023 11:18:51"/>
  <p:tag name="MIO_DBID" val="FDE84254-54DB-49E3-9A0E-CDE72035D530"/>
  <p:tag name="MIO_LASTDOWNLOADED" val="28.03.2023 09:56:55.059"/>
  <p:tag name="MIO_OBJECTNAME" val="USB"/>
  <p:tag name="MIO_LASTEDITORNAME" val="Verena Kohl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1c70cb8-96fa-4909-9766-e8c91b4bdc51"/>
  <p:tag name="MIO_GUID" val="ef0da41b-e3ab-4c8b-bb62-4f6fb903f195"/>
  <p:tag name="MIO_UPDATE" val="True"/>
  <p:tag name="MIO_VERSION" val="05.03.2023 11:12:20"/>
  <p:tag name="MIO_DBID" val="FDE84254-54DB-49E3-9A0E-CDE72035D530"/>
  <p:tag name="MIO_LASTDOWNLOADED" val="28.03.2023 09:57:11.224"/>
  <p:tag name="MIO_OBJECTNAME" val="Gear wheels"/>
  <p:tag name="MIO_LASTEDITORNAME" val="Verena Kohl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5043f89-ec66-4172-a4a8-e64cf5225343"/>
  <p:tag name="MIO_GUID" val="61b77268-7b2e-478c-8277-9c2834722e25"/>
  <p:tag name="MIO_UPDATE" val="True"/>
  <p:tag name="MIO_VERSION" val="05.03.2023 11:13:24"/>
  <p:tag name="MIO_DBID" val="FDE84254-54DB-49E3-9A0E-CDE72035D530"/>
  <p:tag name="MIO_LASTDOWNLOADED" val="28.03.2023 09:57:06.999"/>
  <p:tag name="MIO_OBJECTNAME" val="Light"/>
  <p:tag name="MIO_LASTEDITORNAME" val="Verena Kohl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92c822b-a9f8-464b-8e0c-3a87c8de70b6"/>
  <p:tag name="MIO_GUID" val="598c33cf-bfe0-4370-9eb7-d3736fd269b7"/>
  <p:tag name="MIO_UPDATE" val="True"/>
  <p:tag name="MIO_VERSION" val="05.03.2023 11:09:38"/>
  <p:tag name="MIO_DBID" val="FDE84254-54DB-49E3-9A0E-CDE72035D530"/>
  <p:tag name="MIO_LASTDOWNLOADED" val="28.03.2023 09:57:15.880"/>
  <p:tag name="MIO_OBJECTNAME" val="Chip"/>
  <p:tag name="MIO_LASTEDITORNAME" val="Verena Kohl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48645aeb-56dd-47df-bd8c-68bf4212d86e"/>
  <p:tag name="MIO_GUID" val="d8020c34-0556-43fa-86fd-cb5c94bfd3a3"/>
  <p:tag name="MIO_UPDATE" val="True"/>
  <p:tag name="MIO_VERSION" val="05.03.2023 11:18:51"/>
  <p:tag name="MIO_DBID" val="FDE84254-54DB-49E3-9A0E-CDE72035D530"/>
  <p:tag name="MIO_LASTDOWNLOADED" val="28.03.2023 09:56:55.059"/>
  <p:tag name="MIO_OBJECTNAME" val="USB"/>
  <p:tag name="MIO_LASTEDITORNAME" val="Verena Kohl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94699c8-0719-4de8-b742-747ca916402d"/>
  <p:tag name="MIO_GUID" val="aa963a97-14d4-4dc6-b6f4-f83a5dba542e"/>
  <p:tag name="MIO_UPDATE" val="True"/>
  <p:tag name="MIO_VERSION" val="05.03.2023 11:17:12"/>
  <p:tag name="MIO_DBID" val="FDE84254-54DB-49E3-9A0E-CDE72035D530"/>
  <p:tag name="MIO_LASTDOWNLOADED" val="28.03.2023 09:57:01.101"/>
  <p:tag name="MIO_OBJECTNAME" val="Safe"/>
  <p:tag name="MIO_LASTEDITORNAME" val="Verena Kohl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a1c4618-2f82-43da-85ff-f40c5fbe4a99"/>
  <p:tag name="MIO_GUID" val="512a953f-736f-45e8-b11d-8cea7a7d19df"/>
  <p:tag name="MIO_UPDATE" val="True"/>
  <p:tag name="MIO_VERSION" val="05.03.2023 11:13:09"/>
  <p:tag name="MIO_DBID" val="FDE84254-54DB-49E3-9A0E-CDE72035D530"/>
  <p:tag name="MIO_LASTDOWNLOADED" val="28.03.2023 09:57:08.117"/>
  <p:tag name="MIO_OBJECTNAME" val="Key"/>
  <p:tag name="MIO_LASTEDITORNAME" val="Verena Koh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a70e386-d044-47cd-ab93-2021eed1cc92"/>
  <p:tag name="MIO_GUID" val="3efa10bf-163d-4447-a3c2-4ec6eb3f379c"/>
  <p:tag name="MIO_UPDATE" val="True"/>
  <p:tag name="MIO_VERSION" val="09.03.2023 23:52:02"/>
  <p:tag name="MIO_DBID" val="0F45B44C-9BC7-4D85-81C4-7155EE70A7B9"/>
  <p:tag name="MIO_LASTDOWNLOADED" val="10.03.2023 00:59:17.100"/>
  <p:tag name="MIO_OBJECTNAME" val="Picture 21"/>
  <p:tag name="MIO_LASTEDITORNAME" val=" Verena Kohl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d81623d-4be4-4c88-a322-d69cf8cea1c7"/>
  <p:tag name="MIO_GUID" val="e7dd5654-9205-490b-bf8a-0aa289842244"/>
  <p:tag name="MIO_UPDATE" val="True"/>
  <p:tag name="MIO_VERSION" val="05.03.2023 11:09:35"/>
  <p:tag name="MIO_DBID" val="FDE84254-54DB-49E3-9A0E-CDE72035D530"/>
  <p:tag name="MIO_LASTDOWNLOADED" val="28.03.2023 09:57:16.312"/>
  <p:tag name="MIO_OBJECTNAME" val="Check"/>
  <p:tag name="MIO_LASTEDITORNAME" val="Verena Kohl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d81623d-4be4-4c88-a322-d69cf8cea1c7"/>
  <p:tag name="MIO_GUID" val="e7dd5654-9205-490b-bf8a-0aa289842244"/>
  <p:tag name="MIO_UPDATE" val="True"/>
  <p:tag name="MIO_VERSION" val="05.03.2023 11:09:35"/>
  <p:tag name="MIO_DBID" val="FDE84254-54DB-49E3-9A0E-CDE72035D530"/>
  <p:tag name="MIO_LASTDOWNLOADED" val="28.03.2023 09:57:16.312"/>
  <p:tag name="MIO_OBJECTNAME" val="Check"/>
  <p:tag name="MIO_LASTEDITORNAME" val="Verena Kohl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d81623d-4be4-4c88-a322-d69cf8cea1c7"/>
  <p:tag name="MIO_GUID" val="e7dd5654-9205-490b-bf8a-0aa289842244"/>
  <p:tag name="MIO_UPDATE" val="True"/>
  <p:tag name="MIO_VERSION" val="05.03.2023 11:09:35"/>
  <p:tag name="MIO_DBID" val="FDE84254-54DB-49E3-9A0E-CDE72035D530"/>
  <p:tag name="MIO_LASTDOWNLOADED" val="28.03.2023 09:57:16.312"/>
  <p:tag name="MIO_OBJECTNAME" val="Check"/>
  <p:tag name="MIO_LASTEDITORNAME" val="Verena Kohl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2f7aad-aa87-408b-a033-dc4e06a8b2e2"/>
  <p:tag name="MIO_EKGUID" val="1abdc234-c83f-4229-91fa-eca783239f30"/>
  <p:tag name="MIO_UPDATE" val="True"/>
  <p:tag name="MIO_VERSION" val="16.03.2023 11:11:44"/>
  <p:tag name="MIO_DBID" val="FDE84254-54DB-49E3-9A0E-CDE72035D530"/>
  <p:tag name="MIO_LASTDOWNLOADED" val="22.03.2023 10:44:04.083"/>
  <p:tag name="MIO_OBJECTNAME" val="Q&amp;A, white 02"/>
  <p:tag name="MIO_LASTEDITORNAME" val="Verena Kohl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a70e386-d044-47cd-ab93-2021eed1cc92"/>
  <p:tag name="MIO_GUID" val="3efa10bf-163d-4447-a3c2-4ec6eb3f379c"/>
  <p:tag name="MIO_UPDATE" val="True"/>
  <p:tag name="MIO_VERSION" val="09.03.2023 23:52:02"/>
  <p:tag name="MIO_DBID" val="0F45B44C-9BC7-4D85-81C4-7155EE70A7B9"/>
  <p:tag name="MIO_LASTDOWNLOADED" val="10.03.2023 00:59:17.100"/>
  <p:tag name="MIO_OBJECTNAME" val="Picture 21"/>
  <p:tag name="MIO_LASTEDITORNAME" val=" Verena Kohl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a1c4618-2f82-43da-85ff-f40c5fbe4a99"/>
  <p:tag name="MIO_GUID" val="512a953f-736f-45e8-b11d-8cea7a7d19df"/>
  <p:tag name="MIO_UPDATE" val="True"/>
  <p:tag name="MIO_VERSION" val="05.03.2023 11:13:09"/>
  <p:tag name="MIO_DBID" val="FDE84254-54DB-49E3-9A0E-CDE72035D530"/>
  <p:tag name="MIO_LASTDOWNLOADED" val="28.03.2023 09:57:08.117"/>
  <p:tag name="MIO_OBJECTNAME" val="Key"/>
  <p:tag name="MIO_LASTEDITORNAME" val="Verena Kohl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5cc1248-5c42-4ee1-86fa-a976709b52af"/>
  <p:tag name="MIO_GUID" val="f624e1ad-595a-4364-8bd0-9e0fbed33187"/>
  <p:tag name="MIO_UPDATE" val="True"/>
  <p:tag name="MIO_VERSION" val="05.03.2023 11:09:32"/>
  <p:tag name="MIO_DBID" val="FDE84254-54DB-49E3-9A0E-CDE72035D530"/>
  <p:tag name="MIO_LASTDOWNLOADED" val="28.03.2023 09:57:16.670"/>
  <p:tag name="MIO_OBJECTNAME" val="Chat"/>
  <p:tag name="MIO_LASTEDITORNAME" val="Verena Kohl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a70e386-d044-47cd-ab93-2021eed1cc92"/>
  <p:tag name="MIO_GUID" val="3efa10bf-163d-4447-a3c2-4ec6eb3f379c"/>
  <p:tag name="MIO_UPDATE" val="True"/>
  <p:tag name="MIO_VERSION" val="09.03.2023 23:52:02"/>
  <p:tag name="MIO_DBID" val="0F45B44C-9BC7-4D85-81C4-7155EE70A7B9"/>
  <p:tag name="MIO_LASTDOWNLOADED" val="10.03.2023 00:59:17.100"/>
  <p:tag name="MIO_OBJECTNAME" val="Picture 21"/>
  <p:tag name="MIO_LASTEDITORNAME" val=" Verena Kohl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d81623d-4be4-4c88-a322-d69cf8cea1c7"/>
  <p:tag name="MIO_GUID" val="e7dd5654-9205-490b-bf8a-0aa289842244"/>
  <p:tag name="MIO_UPDATE" val="True"/>
  <p:tag name="MIO_VERSION" val="05.03.2023 11:09:35"/>
  <p:tag name="MIO_DBID" val="FDE84254-54DB-49E3-9A0E-CDE72035D530"/>
  <p:tag name="MIO_LASTDOWNLOADED" val="28.03.2023 09:57:16.312"/>
  <p:tag name="MIO_OBJECTNAME" val="Check"/>
  <p:tag name="MIO_LASTEDITORNAME" val="Verena Kohl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d81623d-4be4-4c88-a322-d69cf8cea1c7"/>
  <p:tag name="MIO_GUID" val="e7dd5654-9205-490b-bf8a-0aa289842244"/>
  <p:tag name="MIO_UPDATE" val="True"/>
  <p:tag name="MIO_VERSION" val="05.03.2023 11:09:35"/>
  <p:tag name="MIO_DBID" val="FDE84254-54DB-49E3-9A0E-CDE72035D530"/>
  <p:tag name="MIO_LASTDOWNLOADED" val="28.03.2023 09:57:16.312"/>
  <p:tag name="MIO_OBJECTNAME" val="Check"/>
  <p:tag name="MIO_LASTEDITORNAME" val="Verena Kohl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d81623d-4be4-4c88-a322-d69cf8cea1c7"/>
  <p:tag name="MIO_GUID" val="e7dd5654-9205-490b-bf8a-0aa289842244"/>
  <p:tag name="MIO_UPDATE" val="True"/>
  <p:tag name="MIO_VERSION" val="05.03.2023 11:09:35"/>
  <p:tag name="MIO_DBID" val="FDE84254-54DB-49E3-9A0E-CDE72035D530"/>
  <p:tag name="MIO_LASTDOWNLOADED" val="28.03.2023 09:57:16.312"/>
  <p:tag name="MIO_OBJECTNAME" val="Check"/>
  <p:tag name="MIO_LASTEDITORNAME" val="Verena Kohl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a70e386-d044-47cd-ab93-2021eed1cc92"/>
  <p:tag name="MIO_GUID" val="3efa10bf-163d-4447-a3c2-4ec6eb3f379c"/>
  <p:tag name="MIO_UPDATE" val="True"/>
  <p:tag name="MIO_VERSION" val="09.03.2023 23:52:02"/>
  <p:tag name="MIO_DBID" val="0F45B44C-9BC7-4D85-81C4-7155EE70A7B9"/>
  <p:tag name="MIO_LASTDOWNLOADED" val="10.03.2023 00:59:17.100"/>
  <p:tag name="MIO_OBJECTNAME" val="Picture 21"/>
  <p:tag name="MIO_LASTEDITORNAME" val=" Verena Kohl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2f7aad-aa87-408b-a033-dc4e06a8b2e2"/>
  <p:tag name="MIO_EKGUID" val="1abdc234-c83f-4229-91fa-eca783239f30"/>
  <p:tag name="MIO_UPDATE" val="True"/>
  <p:tag name="MIO_VERSION" val="16.03.2023 11:11:44"/>
  <p:tag name="MIO_DBID" val="FDE84254-54DB-49E3-9A0E-CDE72035D530"/>
  <p:tag name="MIO_LASTDOWNLOADED" val="22.03.2023 10:44:04.083"/>
  <p:tag name="MIO_OBJECTNAME" val="Q&amp;A, white 02"/>
  <p:tag name="MIO_LASTEDITORNAME" val="Verena Kohl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fa6463a-692a-4976-9543-d330499a8049"/>
  <p:tag name="MIO_GUID" val="14d520a2-0480-4e42-87e5-de8a38489afc"/>
  <p:tag name="MIO_UPDATE" val="True"/>
  <p:tag name="MIO_VERSION" val="05.03.2023 11:19:10"/>
  <p:tag name="MIO_DBID" val="FDE84254-54DB-49E3-9A0E-CDE72035D530"/>
  <p:tag name="MIO_LASTDOWNLOADED" val="28.03.2023 09:56:53.840"/>
  <p:tag name="MIO_OBJECTNAME" val="Web"/>
  <p:tag name="MIO_LASTEDITORNAME" val="Verena Kohl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a70e386-d044-47cd-ab93-2021eed1cc92"/>
  <p:tag name="MIO_GUID" val="3efa10bf-163d-4447-a3c2-4ec6eb3f379c"/>
  <p:tag name="MIO_UPDATE" val="True"/>
  <p:tag name="MIO_VERSION" val="09.03.2023 23:52:02"/>
  <p:tag name="MIO_DBID" val="0F45B44C-9BC7-4D85-81C4-7155EE70A7B9"/>
  <p:tag name="MIO_LASTDOWNLOADED" val="10.03.2023 00:59:17.100"/>
  <p:tag name="MIO_OBJECTNAME" val="Picture 21"/>
  <p:tag name="MIO_LASTEDITORNAME" val=" Verena Koh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f8120ca7-cceb-428f-a7d0-f20ce9397e1b"/>
  <p:tag name="MIO_UPDATE" val="True"/>
  <p:tag name="MIO_DBID" val="FDE84254-54DB-49E3-9A0E-CDE72035D530"/>
  <p:tag name="MIO_OBJECTNAME" val="Infineon LCD 16:9 -- 2023"/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VERSION" val="18.03.2023 12:15:22"/>
  <p:tag name="MIO_LASTDOWNLOADED" val="22.03.2023 11:05:28.804"/>
  <p:tag name="MIO_CDID" val="e2fc2f9e-d5cf-4311-b3a1-0559b8fd1ab8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BA5385AD-EBD4-4914-A57B-0D5DD28EB329}" vid="{1C66E27A-8261-4319-9AD4-EC5D5C5EC2BB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Props1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D299A1D5-F553-4264-9022-E0136C61CE27}">
  <ds:schemaRefs>
    <ds:schemaRef ds:uri="6ef45842-284e-44e4-b2db-1749e7948b44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a709603d-609a-478b-a91d-3c5e984c0e79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829</Words>
  <Application>Microsoft Office PowerPoint</Application>
  <PresentationFormat>Widescreen</PresentationFormat>
  <Paragraphs>326</Paragraphs>
  <Slides>2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3" baseType="lpstr">
      <vt:lpstr>Arial</vt:lpstr>
      <vt:lpstr>Arial Unicode MS</vt:lpstr>
      <vt:lpstr>Symbol</vt:lpstr>
      <vt:lpstr>Verdana</vt:lpstr>
      <vt:lpstr>Infineon 16:9</vt:lpstr>
      <vt:lpstr>think-cell Folie</vt:lpstr>
      <vt:lpstr>OPTIGA™ TPM SLB 9673 A future-proof new generation TPM  with I2C interface</vt:lpstr>
      <vt:lpstr>Infineon’s award-winning TPM technology</vt:lpstr>
      <vt:lpstr>Why security is essential</vt:lpstr>
      <vt:lpstr>PowerPoint Presentation</vt:lpstr>
      <vt:lpstr>Securing systems starts by securing components  with hardware-based roots of trust</vt:lpstr>
      <vt:lpstr>Discrete TPM, key Root-of-Trust for multiple applications</vt:lpstr>
      <vt:lpstr>Quick facts about TPM with an I2C interface </vt:lpstr>
      <vt:lpstr>PowerPoint Presentation</vt:lpstr>
      <vt:lpstr>PowerPoint Presentation</vt:lpstr>
      <vt:lpstr>Quantum computers,  a threat to currently known security algorithms</vt:lpstr>
      <vt:lpstr>Considered timeline</vt:lpstr>
      <vt:lpstr>The security of TPM applications can only be as high  as the one of the firmware update mechanism</vt:lpstr>
      <vt:lpstr>PowerPoint Presentation</vt:lpstr>
      <vt:lpstr>Infineon has already taken the first steps  into the world of quantum computing</vt:lpstr>
      <vt:lpstr>The key benefits with Infineon’s newest TPM family member</vt:lpstr>
      <vt:lpstr>OPTIGA™ TPM SLB 9673, a future-proof TPM</vt:lpstr>
      <vt:lpstr>OPTIGA™ TPM SLB</vt:lpstr>
      <vt:lpstr>PowerPoint Presentation</vt:lpstr>
      <vt:lpstr>Why hardware-based security?</vt:lpstr>
      <vt:lpstr>Relying on Infineon’s hardware-based security protects secret keys against software vulnerabilities in OS and Apps</vt:lpstr>
      <vt:lpstr>Security adds value by protecting your business,  enabling growth and saving costs</vt:lpstr>
      <vt:lpstr>PowerPoint Presentation</vt:lpstr>
      <vt:lpstr>Every second business laptop comes  with an OPTIGA™ TPM</vt:lpstr>
      <vt:lpstr>Our solution comes with service and support</vt:lpstr>
      <vt:lpstr>Key take-aways</vt:lpstr>
      <vt:lpstr>PowerPoint Presentation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hl Verena (IFAG CP CC BSD / External)</dc:creator>
  <cp:lastModifiedBy>Bibeva Ivelina (IFAG CSS DSI MCS)</cp:lastModifiedBy>
  <cp:revision>304</cp:revision>
  <dcterms:created xsi:type="dcterms:W3CDTF">2023-03-04T12:32:47Z</dcterms:created>
  <dcterms:modified xsi:type="dcterms:W3CDTF">2023-10-12T10:1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-1</vt:i4>
  </property>
  <property fmtid="{D5CDD505-2E9C-101B-9397-08002B2CF9AE}" pid="14" name="empower.integration.Classification.FooterDate">
    <vt:filetime>2023-09-21T08:57:27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2T10:05:46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de545783-450c-4bd9-aeb0-764d7e713a38</vt:lpwstr>
  </property>
  <property fmtid="{D5CDD505-2E9C-101B-9397-08002B2CF9AE}" pid="28" name="MSIP_Label_a15a25aa-e944-415d-b7a7-40f6b9180b6b_ContentBits">
    <vt:lpwstr>0</vt:lpwstr>
  </property>
</Properties>
</file>